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9"/>
  </p:notesMasterIdLst>
  <p:sldIdLst>
    <p:sldId id="370" r:id="rId2"/>
    <p:sldId id="545" r:id="rId3"/>
    <p:sldId id="426" r:id="rId4"/>
    <p:sldId id="498" r:id="rId5"/>
    <p:sldId id="500" r:id="rId6"/>
    <p:sldId id="434" r:id="rId7"/>
    <p:sldId id="514" r:id="rId8"/>
    <p:sldId id="520" r:id="rId9"/>
    <p:sldId id="518" r:id="rId10"/>
    <p:sldId id="467" r:id="rId11"/>
    <p:sldId id="516" r:id="rId12"/>
    <p:sldId id="521" r:id="rId13"/>
    <p:sldId id="531" r:id="rId14"/>
    <p:sldId id="468" r:id="rId15"/>
    <p:sldId id="513" r:id="rId16"/>
    <p:sldId id="525" r:id="rId17"/>
    <p:sldId id="535" r:id="rId18"/>
    <p:sldId id="539" r:id="rId19"/>
    <p:sldId id="538" r:id="rId20"/>
    <p:sldId id="479" r:id="rId21"/>
    <p:sldId id="515" r:id="rId22"/>
    <p:sldId id="509" r:id="rId23"/>
    <p:sldId id="540" r:id="rId24"/>
    <p:sldId id="474" r:id="rId25"/>
    <p:sldId id="532" r:id="rId26"/>
    <p:sldId id="475" r:id="rId27"/>
    <p:sldId id="544" r:id="rId28"/>
  </p:sldIdLst>
  <p:sldSz cx="12192000" cy="6858000"/>
  <p:notesSz cx="6797675" cy="9926638"/>
  <p:custDataLst>
    <p:tags r:id="rId30"/>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65A4"/>
    <a:srgbClr val="E1EDF4"/>
    <a:srgbClr val="F3F3F3"/>
    <a:srgbClr val="8CBAD6"/>
    <a:srgbClr val="D52727"/>
    <a:srgbClr val="003300"/>
    <a:srgbClr val="59DE11"/>
    <a:srgbClr val="EC0001"/>
    <a:srgbClr val="251FD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Stile medio 2 - Colore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828" autoAdjust="0"/>
    <p:restoredTop sz="93890" autoAdjust="0"/>
  </p:normalViewPr>
  <p:slideViewPr>
    <p:cSldViewPr snapToGrid="0">
      <p:cViewPr varScale="1">
        <p:scale>
          <a:sx n="103" d="100"/>
          <a:sy n="103" d="100"/>
        </p:scale>
        <p:origin x="552" y="12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36F80BB-E2FC-4129-9337-1D7F39F11100}" type="doc">
      <dgm:prSet loTypeId="urn:microsoft.com/office/officeart/2005/8/layout/list1" loCatId="list" qsTypeId="urn:microsoft.com/office/officeart/2005/8/quickstyle/simple2" qsCatId="simple" csTypeId="urn:microsoft.com/office/officeart/2005/8/colors/accent1_2" csCatId="accent1" phldr="1"/>
      <dgm:spPr/>
      <dgm:t>
        <a:bodyPr/>
        <a:lstStyle/>
        <a:p>
          <a:endParaRPr lang="it-IT"/>
        </a:p>
      </dgm:t>
    </dgm:pt>
    <dgm:pt modelId="{93FAE317-1060-45CF-9C92-8460E0F9CBCB}">
      <dgm:prSet phldrT="[Testo]" custT="1"/>
      <dgm:spPr/>
      <dgm:t>
        <a:bodyPr/>
        <a:lstStyle/>
        <a:p>
          <a:r>
            <a:rPr lang="it-IT" sz="1200" b="1" dirty="0"/>
            <a:t>01. Genesi del progetto</a:t>
          </a:r>
        </a:p>
      </dgm:t>
    </dgm:pt>
    <dgm:pt modelId="{2F8E586E-A2D0-485A-A7E9-FD9A63D9505E}" type="parTrans" cxnId="{1DA5DB58-A7F9-4291-922D-F86568487537}">
      <dgm:prSet/>
      <dgm:spPr/>
      <dgm:t>
        <a:bodyPr/>
        <a:lstStyle/>
        <a:p>
          <a:endParaRPr lang="it-IT"/>
        </a:p>
      </dgm:t>
    </dgm:pt>
    <dgm:pt modelId="{B03C55BB-1D90-4F6C-98E3-4020567A5A9D}" type="sibTrans" cxnId="{1DA5DB58-A7F9-4291-922D-F86568487537}">
      <dgm:prSet/>
      <dgm:spPr/>
      <dgm:t>
        <a:bodyPr/>
        <a:lstStyle/>
        <a:p>
          <a:endParaRPr lang="it-IT"/>
        </a:p>
      </dgm:t>
    </dgm:pt>
    <dgm:pt modelId="{739043D5-0462-4C0C-ACE0-32701FDDB2DD}">
      <dgm:prSet phldrT="[Testo]" custT="1"/>
      <dgm:spPr/>
      <dgm:t>
        <a:bodyPr/>
        <a:lstStyle/>
        <a:p>
          <a:r>
            <a:rPr lang="it-IT" sz="1200" b="1" dirty="0"/>
            <a:t>02. Iter autorizzativo e cronoprogramma attività</a:t>
          </a:r>
        </a:p>
      </dgm:t>
    </dgm:pt>
    <dgm:pt modelId="{09946DFC-7546-4A75-B0F1-0B048446F3FD}" type="parTrans" cxnId="{A3F783A3-CED8-456A-A0A1-97CC833933B1}">
      <dgm:prSet/>
      <dgm:spPr/>
      <dgm:t>
        <a:bodyPr/>
        <a:lstStyle/>
        <a:p>
          <a:endParaRPr lang="it-IT"/>
        </a:p>
      </dgm:t>
    </dgm:pt>
    <dgm:pt modelId="{0B460580-B3CA-48B1-BC7B-8EA216D40837}" type="sibTrans" cxnId="{A3F783A3-CED8-456A-A0A1-97CC833933B1}">
      <dgm:prSet/>
      <dgm:spPr/>
      <dgm:t>
        <a:bodyPr/>
        <a:lstStyle/>
        <a:p>
          <a:endParaRPr lang="it-IT"/>
        </a:p>
      </dgm:t>
    </dgm:pt>
    <dgm:pt modelId="{374BFC2C-EE20-438E-B330-24F144DE28C0}">
      <dgm:prSet phldrT="[Testo]" custT="1"/>
      <dgm:spPr/>
      <dgm:t>
        <a:bodyPr/>
        <a:lstStyle/>
        <a:p>
          <a:r>
            <a:rPr lang="it-IT" sz="1200" b="1" dirty="0"/>
            <a:t>03. </a:t>
          </a:r>
          <a:r>
            <a:rPr lang="it-IT" sz="1200" b="1" dirty="0" err="1"/>
            <a:t>Overview</a:t>
          </a:r>
          <a:r>
            <a:rPr lang="it-IT" sz="1200" b="1" dirty="0"/>
            <a:t> progetto</a:t>
          </a:r>
        </a:p>
      </dgm:t>
    </dgm:pt>
    <dgm:pt modelId="{2148A25A-F7FE-4891-9F5C-6213AA689D6C}" type="parTrans" cxnId="{6A040B7C-D768-4189-B2D1-9EADF02D48A0}">
      <dgm:prSet/>
      <dgm:spPr/>
      <dgm:t>
        <a:bodyPr/>
        <a:lstStyle/>
        <a:p>
          <a:endParaRPr lang="it-IT"/>
        </a:p>
      </dgm:t>
    </dgm:pt>
    <dgm:pt modelId="{C9A2E71C-4213-489B-9882-C4625945E9CD}" type="sibTrans" cxnId="{6A040B7C-D768-4189-B2D1-9EADF02D48A0}">
      <dgm:prSet/>
      <dgm:spPr/>
      <dgm:t>
        <a:bodyPr/>
        <a:lstStyle/>
        <a:p>
          <a:endParaRPr lang="it-IT"/>
        </a:p>
      </dgm:t>
    </dgm:pt>
    <dgm:pt modelId="{BAAD4D93-634A-49B1-880C-7FE5C6CDEE3C}">
      <dgm:prSet custT="1"/>
      <dgm:spPr/>
      <dgm:t>
        <a:bodyPr/>
        <a:lstStyle/>
        <a:p>
          <a:r>
            <a:rPr lang="it-IT" sz="1200" b="1" dirty="0"/>
            <a:t>04. I Numeri del progetto</a:t>
          </a:r>
        </a:p>
      </dgm:t>
    </dgm:pt>
    <dgm:pt modelId="{836D0AA1-8911-4DC5-B50B-09E731462485}" type="parTrans" cxnId="{6C225F24-ECF1-4650-9F03-0825E66FA93E}">
      <dgm:prSet/>
      <dgm:spPr/>
      <dgm:t>
        <a:bodyPr/>
        <a:lstStyle/>
        <a:p>
          <a:endParaRPr lang="it-IT"/>
        </a:p>
      </dgm:t>
    </dgm:pt>
    <dgm:pt modelId="{838CE74A-1DF4-4960-97DD-C5645DC52980}" type="sibTrans" cxnId="{6C225F24-ECF1-4650-9F03-0825E66FA93E}">
      <dgm:prSet/>
      <dgm:spPr/>
      <dgm:t>
        <a:bodyPr/>
        <a:lstStyle/>
        <a:p>
          <a:endParaRPr lang="it-IT"/>
        </a:p>
      </dgm:t>
    </dgm:pt>
    <dgm:pt modelId="{6DAC0F6C-2DEB-4565-92CC-B338F9CEFFD3}">
      <dgm:prSet custT="1"/>
      <dgm:spPr/>
      <dgm:t>
        <a:bodyPr/>
        <a:lstStyle/>
        <a:p>
          <a:r>
            <a:rPr lang="it-IT" sz="1200" b="1" dirty="0"/>
            <a:t>05. Descrizione dell’intervento</a:t>
          </a:r>
        </a:p>
      </dgm:t>
    </dgm:pt>
    <dgm:pt modelId="{088A780A-DDDA-4A4A-AE3B-1D4459155655}" type="parTrans" cxnId="{A134236D-8301-4A90-9C30-5C00961C764C}">
      <dgm:prSet/>
      <dgm:spPr/>
      <dgm:t>
        <a:bodyPr/>
        <a:lstStyle/>
        <a:p>
          <a:endParaRPr lang="it-IT"/>
        </a:p>
      </dgm:t>
    </dgm:pt>
    <dgm:pt modelId="{008341AA-95FE-46D7-B8FC-053B198A1387}" type="sibTrans" cxnId="{A134236D-8301-4A90-9C30-5C00961C764C}">
      <dgm:prSet/>
      <dgm:spPr/>
      <dgm:t>
        <a:bodyPr/>
        <a:lstStyle/>
        <a:p>
          <a:endParaRPr lang="it-IT"/>
        </a:p>
      </dgm:t>
    </dgm:pt>
    <dgm:pt modelId="{22342603-6B80-47EF-AC88-95DF5574B9E6}">
      <dgm:prSet custT="1"/>
      <dgm:spPr/>
      <dgm:t>
        <a:bodyPr/>
        <a:lstStyle/>
        <a:p>
          <a:r>
            <a:rPr lang="it-IT" sz="1200" b="1" dirty="0"/>
            <a:t>06. Cronoprogramma lavori</a:t>
          </a:r>
        </a:p>
      </dgm:t>
    </dgm:pt>
    <dgm:pt modelId="{64F3459C-F33B-4DA1-A1EF-B4A8592C8312}" type="parTrans" cxnId="{0DE4243A-9BA7-4C00-B671-073EFFCD7DB4}">
      <dgm:prSet/>
      <dgm:spPr/>
      <dgm:t>
        <a:bodyPr/>
        <a:lstStyle/>
        <a:p>
          <a:endParaRPr lang="it-IT"/>
        </a:p>
      </dgm:t>
    </dgm:pt>
    <dgm:pt modelId="{CD900D30-082D-4B63-A5D4-4D4CF0487D33}" type="sibTrans" cxnId="{0DE4243A-9BA7-4C00-B671-073EFFCD7DB4}">
      <dgm:prSet/>
      <dgm:spPr/>
      <dgm:t>
        <a:bodyPr/>
        <a:lstStyle/>
        <a:p>
          <a:endParaRPr lang="it-IT"/>
        </a:p>
      </dgm:t>
    </dgm:pt>
    <dgm:pt modelId="{F11E460B-1B7C-4932-AD10-264D3EFF85BE}" type="pres">
      <dgm:prSet presAssocID="{836F80BB-E2FC-4129-9337-1D7F39F11100}" presName="linear" presStyleCnt="0">
        <dgm:presLayoutVars>
          <dgm:dir/>
          <dgm:animLvl val="lvl"/>
          <dgm:resizeHandles val="exact"/>
        </dgm:presLayoutVars>
      </dgm:prSet>
      <dgm:spPr/>
    </dgm:pt>
    <dgm:pt modelId="{C417DA66-DE42-4818-9A9B-8186F81B58C6}" type="pres">
      <dgm:prSet presAssocID="{93FAE317-1060-45CF-9C92-8460E0F9CBCB}" presName="parentLin" presStyleCnt="0"/>
      <dgm:spPr/>
    </dgm:pt>
    <dgm:pt modelId="{D663E13A-8A49-4DD7-B330-04998CC2B295}" type="pres">
      <dgm:prSet presAssocID="{93FAE317-1060-45CF-9C92-8460E0F9CBCB}" presName="parentLeftMargin" presStyleLbl="node1" presStyleIdx="0" presStyleCnt="6"/>
      <dgm:spPr/>
    </dgm:pt>
    <dgm:pt modelId="{0D1798D6-4AB1-4797-AF32-188A20BB3794}" type="pres">
      <dgm:prSet presAssocID="{93FAE317-1060-45CF-9C92-8460E0F9CBCB}" presName="parentText" presStyleLbl="node1" presStyleIdx="0" presStyleCnt="6" custScaleX="136906">
        <dgm:presLayoutVars>
          <dgm:chMax val="0"/>
          <dgm:bulletEnabled val="1"/>
        </dgm:presLayoutVars>
      </dgm:prSet>
      <dgm:spPr/>
    </dgm:pt>
    <dgm:pt modelId="{88F6A108-9CA1-4926-AD79-9819C31ABCC2}" type="pres">
      <dgm:prSet presAssocID="{93FAE317-1060-45CF-9C92-8460E0F9CBCB}" presName="negativeSpace" presStyleCnt="0"/>
      <dgm:spPr/>
    </dgm:pt>
    <dgm:pt modelId="{C29E9894-DA6E-43B7-AF81-D32E2111E777}" type="pres">
      <dgm:prSet presAssocID="{93FAE317-1060-45CF-9C92-8460E0F9CBCB}" presName="childText" presStyleLbl="conFgAcc1" presStyleIdx="0" presStyleCnt="6">
        <dgm:presLayoutVars>
          <dgm:bulletEnabled val="1"/>
        </dgm:presLayoutVars>
      </dgm:prSet>
      <dgm:spPr/>
    </dgm:pt>
    <dgm:pt modelId="{6257F7AA-DC77-434F-A4F0-D90057A1C4F3}" type="pres">
      <dgm:prSet presAssocID="{B03C55BB-1D90-4F6C-98E3-4020567A5A9D}" presName="spaceBetweenRectangles" presStyleCnt="0"/>
      <dgm:spPr/>
    </dgm:pt>
    <dgm:pt modelId="{653E0B18-BED6-414A-95D2-1E9C13495316}" type="pres">
      <dgm:prSet presAssocID="{739043D5-0462-4C0C-ACE0-32701FDDB2DD}" presName="parentLin" presStyleCnt="0"/>
      <dgm:spPr/>
    </dgm:pt>
    <dgm:pt modelId="{D1E63D5F-84BD-41C4-A350-2FF1A6E93C45}" type="pres">
      <dgm:prSet presAssocID="{739043D5-0462-4C0C-ACE0-32701FDDB2DD}" presName="parentLeftMargin" presStyleLbl="node1" presStyleIdx="0" presStyleCnt="6"/>
      <dgm:spPr/>
    </dgm:pt>
    <dgm:pt modelId="{D0495439-F5A5-483A-9F51-640AF9F982B7}" type="pres">
      <dgm:prSet presAssocID="{739043D5-0462-4C0C-ACE0-32701FDDB2DD}" presName="parentText" presStyleLbl="node1" presStyleIdx="1" presStyleCnt="6" custScaleX="142857">
        <dgm:presLayoutVars>
          <dgm:chMax val="0"/>
          <dgm:bulletEnabled val="1"/>
        </dgm:presLayoutVars>
      </dgm:prSet>
      <dgm:spPr/>
    </dgm:pt>
    <dgm:pt modelId="{CD73D9D2-202C-4413-A6E6-4DEC433BC38F}" type="pres">
      <dgm:prSet presAssocID="{739043D5-0462-4C0C-ACE0-32701FDDB2DD}" presName="negativeSpace" presStyleCnt="0"/>
      <dgm:spPr/>
    </dgm:pt>
    <dgm:pt modelId="{D59A7228-AAEE-44A0-B2B6-1E93EBF895FE}" type="pres">
      <dgm:prSet presAssocID="{739043D5-0462-4C0C-ACE0-32701FDDB2DD}" presName="childText" presStyleLbl="conFgAcc1" presStyleIdx="1" presStyleCnt="6" custLinFactNeighborX="224" custLinFactNeighborY="-2862">
        <dgm:presLayoutVars>
          <dgm:bulletEnabled val="1"/>
        </dgm:presLayoutVars>
      </dgm:prSet>
      <dgm:spPr/>
    </dgm:pt>
    <dgm:pt modelId="{2BB43E85-4643-420B-B186-B6CC959A516E}" type="pres">
      <dgm:prSet presAssocID="{0B460580-B3CA-48B1-BC7B-8EA216D40837}" presName="spaceBetweenRectangles" presStyleCnt="0"/>
      <dgm:spPr/>
    </dgm:pt>
    <dgm:pt modelId="{8EE21A75-A7AA-493E-A893-EAED0C14CADA}" type="pres">
      <dgm:prSet presAssocID="{374BFC2C-EE20-438E-B330-24F144DE28C0}" presName="parentLin" presStyleCnt="0"/>
      <dgm:spPr/>
    </dgm:pt>
    <dgm:pt modelId="{0C4D123D-4E9A-4D9E-A053-36EA40658547}" type="pres">
      <dgm:prSet presAssocID="{374BFC2C-EE20-438E-B330-24F144DE28C0}" presName="parentLeftMargin" presStyleLbl="node1" presStyleIdx="1" presStyleCnt="6"/>
      <dgm:spPr/>
    </dgm:pt>
    <dgm:pt modelId="{4C121153-6972-4FCB-84CC-1B94B589C10E}" type="pres">
      <dgm:prSet presAssocID="{374BFC2C-EE20-438E-B330-24F144DE28C0}" presName="parentText" presStyleLbl="node1" presStyleIdx="2" presStyleCnt="6" custScaleX="142857">
        <dgm:presLayoutVars>
          <dgm:chMax val="0"/>
          <dgm:bulletEnabled val="1"/>
        </dgm:presLayoutVars>
      </dgm:prSet>
      <dgm:spPr/>
    </dgm:pt>
    <dgm:pt modelId="{A4B2786A-8850-456C-B590-C524BACB83AD}" type="pres">
      <dgm:prSet presAssocID="{374BFC2C-EE20-438E-B330-24F144DE28C0}" presName="negativeSpace" presStyleCnt="0"/>
      <dgm:spPr/>
    </dgm:pt>
    <dgm:pt modelId="{AA7305E8-F7ED-4379-A322-7EA197B4ED22}" type="pres">
      <dgm:prSet presAssocID="{374BFC2C-EE20-438E-B330-24F144DE28C0}" presName="childText" presStyleLbl="conFgAcc1" presStyleIdx="2" presStyleCnt="6">
        <dgm:presLayoutVars>
          <dgm:bulletEnabled val="1"/>
        </dgm:presLayoutVars>
      </dgm:prSet>
      <dgm:spPr/>
    </dgm:pt>
    <dgm:pt modelId="{411431BE-97A3-4AA4-8D1B-CE0A43AD0884}" type="pres">
      <dgm:prSet presAssocID="{C9A2E71C-4213-489B-9882-C4625945E9CD}" presName="spaceBetweenRectangles" presStyleCnt="0"/>
      <dgm:spPr/>
    </dgm:pt>
    <dgm:pt modelId="{A40D1CB8-C3A5-4DF1-85FC-8E3065DC6F3D}" type="pres">
      <dgm:prSet presAssocID="{BAAD4D93-634A-49B1-880C-7FE5C6CDEE3C}" presName="parentLin" presStyleCnt="0"/>
      <dgm:spPr/>
    </dgm:pt>
    <dgm:pt modelId="{A4C58893-03CF-4254-B4D6-BA0600740E47}" type="pres">
      <dgm:prSet presAssocID="{BAAD4D93-634A-49B1-880C-7FE5C6CDEE3C}" presName="parentLeftMargin" presStyleLbl="node1" presStyleIdx="2" presStyleCnt="6"/>
      <dgm:spPr/>
    </dgm:pt>
    <dgm:pt modelId="{D6689A6D-BAF8-4A96-8C02-C7921AAA1B43}" type="pres">
      <dgm:prSet presAssocID="{BAAD4D93-634A-49B1-880C-7FE5C6CDEE3C}" presName="parentText" presStyleLbl="node1" presStyleIdx="3" presStyleCnt="6" custScaleX="142857">
        <dgm:presLayoutVars>
          <dgm:chMax val="0"/>
          <dgm:bulletEnabled val="1"/>
        </dgm:presLayoutVars>
      </dgm:prSet>
      <dgm:spPr/>
    </dgm:pt>
    <dgm:pt modelId="{3441700D-1219-4CAB-A5A0-2CFA98F7C010}" type="pres">
      <dgm:prSet presAssocID="{BAAD4D93-634A-49B1-880C-7FE5C6CDEE3C}" presName="negativeSpace" presStyleCnt="0"/>
      <dgm:spPr/>
    </dgm:pt>
    <dgm:pt modelId="{1E52B2E7-5C91-42A9-A945-D5678735BA66}" type="pres">
      <dgm:prSet presAssocID="{BAAD4D93-634A-49B1-880C-7FE5C6CDEE3C}" presName="childText" presStyleLbl="conFgAcc1" presStyleIdx="3" presStyleCnt="6">
        <dgm:presLayoutVars>
          <dgm:bulletEnabled val="1"/>
        </dgm:presLayoutVars>
      </dgm:prSet>
      <dgm:spPr/>
    </dgm:pt>
    <dgm:pt modelId="{5CE31268-6E84-43AF-884F-5F5E95377521}" type="pres">
      <dgm:prSet presAssocID="{838CE74A-1DF4-4960-97DD-C5645DC52980}" presName="spaceBetweenRectangles" presStyleCnt="0"/>
      <dgm:spPr/>
    </dgm:pt>
    <dgm:pt modelId="{1B06513E-2586-4DF6-A983-063E28770107}" type="pres">
      <dgm:prSet presAssocID="{6DAC0F6C-2DEB-4565-92CC-B338F9CEFFD3}" presName="parentLin" presStyleCnt="0"/>
      <dgm:spPr/>
    </dgm:pt>
    <dgm:pt modelId="{B6DA9C87-6F47-4AF3-BA85-5E80890C9ABB}" type="pres">
      <dgm:prSet presAssocID="{6DAC0F6C-2DEB-4565-92CC-B338F9CEFFD3}" presName="parentLeftMargin" presStyleLbl="node1" presStyleIdx="3" presStyleCnt="6"/>
      <dgm:spPr/>
    </dgm:pt>
    <dgm:pt modelId="{77AEE14C-27D9-401D-88D9-4501A777E357}" type="pres">
      <dgm:prSet presAssocID="{6DAC0F6C-2DEB-4565-92CC-B338F9CEFFD3}" presName="parentText" presStyleLbl="node1" presStyleIdx="4" presStyleCnt="6" custScaleX="142857">
        <dgm:presLayoutVars>
          <dgm:chMax val="0"/>
          <dgm:bulletEnabled val="1"/>
        </dgm:presLayoutVars>
      </dgm:prSet>
      <dgm:spPr/>
    </dgm:pt>
    <dgm:pt modelId="{65628270-2B53-4EAD-969F-7230AD704C23}" type="pres">
      <dgm:prSet presAssocID="{6DAC0F6C-2DEB-4565-92CC-B338F9CEFFD3}" presName="negativeSpace" presStyleCnt="0"/>
      <dgm:spPr/>
    </dgm:pt>
    <dgm:pt modelId="{456CF12E-A2A5-463E-9067-F59FE8AA896F}" type="pres">
      <dgm:prSet presAssocID="{6DAC0F6C-2DEB-4565-92CC-B338F9CEFFD3}" presName="childText" presStyleLbl="conFgAcc1" presStyleIdx="4" presStyleCnt="6">
        <dgm:presLayoutVars>
          <dgm:bulletEnabled val="1"/>
        </dgm:presLayoutVars>
      </dgm:prSet>
      <dgm:spPr/>
    </dgm:pt>
    <dgm:pt modelId="{1B04ED2E-706C-4256-BB16-0B6DF8CAD3BC}" type="pres">
      <dgm:prSet presAssocID="{008341AA-95FE-46D7-B8FC-053B198A1387}" presName="spaceBetweenRectangles" presStyleCnt="0"/>
      <dgm:spPr/>
    </dgm:pt>
    <dgm:pt modelId="{0A76EB45-0558-4A47-9FEF-684CB73B4D82}" type="pres">
      <dgm:prSet presAssocID="{22342603-6B80-47EF-AC88-95DF5574B9E6}" presName="parentLin" presStyleCnt="0"/>
      <dgm:spPr/>
    </dgm:pt>
    <dgm:pt modelId="{EB5B67C3-7ED0-42AA-BF48-8F5FA2BAAFF6}" type="pres">
      <dgm:prSet presAssocID="{22342603-6B80-47EF-AC88-95DF5574B9E6}" presName="parentLeftMargin" presStyleLbl="node1" presStyleIdx="4" presStyleCnt="6"/>
      <dgm:spPr/>
    </dgm:pt>
    <dgm:pt modelId="{D10BEDA5-E359-4037-B3AC-7DF8336582DB}" type="pres">
      <dgm:prSet presAssocID="{22342603-6B80-47EF-AC88-95DF5574B9E6}" presName="parentText" presStyleLbl="node1" presStyleIdx="5" presStyleCnt="6" custScaleX="142857">
        <dgm:presLayoutVars>
          <dgm:chMax val="0"/>
          <dgm:bulletEnabled val="1"/>
        </dgm:presLayoutVars>
      </dgm:prSet>
      <dgm:spPr/>
    </dgm:pt>
    <dgm:pt modelId="{AEB2511A-1AAE-41D8-B1CC-44304979339D}" type="pres">
      <dgm:prSet presAssocID="{22342603-6B80-47EF-AC88-95DF5574B9E6}" presName="negativeSpace" presStyleCnt="0"/>
      <dgm:spPr/>
    </dgm:pt>
    <dgm:pt modelId="{EB353060-EB7D-4984-8DB5-54B4FB55425F}" type="pres">
      <dgm:prSet presAssocID="{22342603-6B80-47EF-AC88-95DF5574B9E6}" presName="childText" presStyleLbl="conFgAcc1" presStyleIdx="5" presStyleCnt="6">
        <dgm:presLayoutVars>
          <dgm:bulletEnabled val="1"/>
        </dgm:presLayoutVars>
      </dgm:prSet>
      <dgm:spPr/>
    </dgm:pt>
  </dgm:ptLst>
  <dgm:cxnLst>
    <dgm:cxn modelId="{76B81B0F-1901-4E1A-88C7-3FA2FD95F8E4}" type="presOf" srcId="{739043D5-0462-4C0C-ACE0-32701FDDB2DD}" destId="{D0495439-F5A5-483A-9F51-640AF9F982B7}" srcOrd="1" destOrd="0" presId="urn:microsoft.com/office/officeart/2005/8/layout/list1"/>
    <dgm:cxn modelId="{F0451A1F-B004-4F54-83AC-20BA44B691AE}" type="presOf" srcId="{BAAD4D93-634A-49B1-880C-7FE5C6CDEE3C}" destId="{A4C58893-03CF-4254-B4D6-BA0600740E47}" srcOrd="0" destOrd="0" presId="urn:microsoft.com/office/officeart/2005/8/layout/list1"/>
    <dgm:cxn modelId="{6C225F24-ECF1-4650-9F03-0825E66FA93E}" srcId="{836F80BB-E2FC-4129-9337-1D7F39F11100}" destId="{BAAD4D93-634A-49B1-880C-7FE5C6CDEE3C}" srcOrd="3" destOrd="0" parTransId="{836D0AA1-8911-4DC5-B50B-09E731462485}" sibTransId="{838CE74A-1DF4-4960-97DD-C5645DC52980}"/>
    <dgm:cxn modelId="{0DE4243A-9BA7-4C00-B671-073EFFCD7DB4}" srcId="{836F80BB-E2FC-4129-9337-1D7F39F11100}" destId="{22342603-6B80-47EF-AC88-95DF5574B9E6}" srcOrd="5" destOrd="0" parTransId="{64F3459C-F33B-4DA1-A1EF-B4A8592C8312}" sibTransId="{CD900D30-082D-4B63-A5D4-4D4CF0487D33}"/>
    <dgm:cxn modelId="{5D9B5F46-510A-46B5-83B0-77B27C65E21F}" type="presOf" srcId="{22342603-6B80-47EF-AC88-95DF5574B9E6}" destId="{EB5B67C3-7ED0-42AA-BF48-8F5FA2BAAFF6}" srcOrd="0" destOrd="0" presId="urn:microsoft.com/office/officeart/2005/8/layout/list1"/>
    <dgm:cxn modelId="{A134236D-8301-4A90-9C30-5C00961C764C}" srcId="{836F80BB-E2FC-4129-9337-1D7F39F11100}" destId="{6DAC0F6C-2DEB-4565-92CC-B338F9CEFFD3}" srcOrd="4" destOrd="0" parTransId="{088A780A-DDDA-4A4A-AE3B-1D4459155655}" sibTransId="{008341AA-95FE-46D7-B8FC-053B198A1387}"/>
    <dgm:cxn modelId="{1DA5DB58-A7F9-4291-922D-F86568487537}" srcId="{836F80BB-E2FC-4129-9337-1D7F39F11100}" destId="{93FAE317-1060-45CF-9C92-8460E0F9CBCB}" srcOrd="0" destOrd="0" parTransId="{2F8E586E-A2D0-485A-A7E9-FD9A63D9505E}" sibTransId="{B03C55BB-1D90-4F6C-98E3-4020567A5A9D}"/>
    <dgm:cxn modelId="{6A040B7C-D768-4189-B2D1-9EADF02D48A0}" srcId="{836F80BB-E2FC-4129-9337-1D7F39F11100}" destId="{374BFC2C-EE20-438E-B330-24F144DE28C0}" srcOrd="2" destOrd="0" parTransId="{2148A25A-F7FE-4891-9F5C-6213AA689D6C}" sibTransId="{C9A2E71C-4213-489B-9882-C4625945E9CD}"/>
    <dgm:cxn modelId="{53B49688-329E-41DF-8821-C58B266AE876}" type="presOf" srcId="{22342603-6B80-47EF-AC88-95DF5574B9E6}" destId="{D10BEDA5-E359-4037-B3AC-7DF8336582DB}" srcOrd="1" destOrd="0" presId="urn:microsoft.com/office/officeart/2005/8/layout/list1"/>
    <dgm:cxn modelId="{A3F783A3-CED8-456A-A0A1-97CC833933B1}" srcId="{836F80BB-E2FC-4129-9337-1D7F39F11100}" destId="{739043D5-0462-4C0C-ACE0-32701FDDB2DD}" srcOrd="1" destOrd="0" parTransId="{09946DFC-7546-4A75-B0F1-0B048446F3FD}" sibTransId="{0B460580-B3CA-48B1-BC7B-8EA216D40837}"/>
    <dgm:cxn modelId="{8EBAFAAB-4736-46F6-8669-BC4CCDFDEB29}" type="presOf" srcId="{93FAE317-1060-45CF-9C92-8460E0F9CBCB}" destId="{0D1798D6-4AB1-4797-AF32-188A20BB3794}" srcOrd="1" destOrd="0" presId="urn:microsoft.com/office/officeart/2005/8/layout/list1"/>
    <dgm:cxn modelId="{3D2CA8B4-F321-414B-99B3-7D27F045566E}" type="presOf" srcId="{BAAD4D93-634A-49B1-880C-7FE5C6CDEE3C}" destId="{D6689A6D-BAF8-4A96-8C02-C7921AAA1B43}" srcOrd="1" destOrd="0" presId="urn:microsoft.com/office/officeart/2005/8/layout/list1"/>
    <dgm:cxn modelId="{CC8781CC-34BF-4426-8759-A31385916254}" type="presOf" srcId="{836F80BB-E2FC-4129-9337-1D7F39F11100}" destId="{F11E460B-1B7C-4932-AD10-264D3EFF85BE}" srcOrd="0" destOrd="0" presId="urn:microsoft.com/office/officeart/2005/8/layout/list1"/>
    <dgm:cxn modelId="{D71315CD-0A08-41EF-BE65-B8DA43477324}" type="presOf" srcId="{93FAE317-1060-45CF-9C92-8460E0F9CBCB}" destId="{D663E13A-8A49-4DD7-B330-04998CC2B295}" srcOrd="0" destOrd="0" presId="urn:microsoft.com/office/officeart/2005/8/layout/list1"/>
    <dgm:cxn modelId="{675DC5D4-F961-4CF4-9EF1-ACE072E16ACA}" type="presOf" srcId="{6DAC0F6C-2DEB-4565-92CC-B338F9CEFFD3}" destId="{77AEE14C-27D9-401D-88D9-4501A777E357}" srcOrd="1" destOrd="0" presId="urn:microsoft.com/office/officeart/2005/8/layout/list1"/>
    <dgm:cxn modelId="{588753D7-4445-47C4-9883-FEE9D68822F8}" type="presOf" srcId="{374BFC2C-EE20-438E-B330-24F144DE28C0}" destId="{0C4D123D-4E9A-4D9E-A053-36EA40658547}" srcOrd="0" destOrd="0" presId="urn:microsoft.com/office/officeart/2005/8/layout/list1"/>
    <dgm:cxn modelId="{5706E2E1-08E6-4667-86BA-744EA22A813C}" type="presOf" srcId="{739043D5-0462-4C0C-ACE0-32701FDDB2DD}" destId="{D1E63D5F-84BD-41C4-A350-2FF1A6E93C45}" srcOrd="0" destOrd="0" presId="urn:microsoft.com/office/officeart/2005/8/layout/list1"/>
    <dgm:cxn modelId="{6DDEF1F0-AD06-4EDB-A41A-0433FE897929}" type="presOf" srcId="{6DAC0F6C-2DEB-4565-92CC-B338F9CEFFD3}" destId="{B6DA9C87-6F47-4AF3-BA85-5E80890C9ABB}" srcOrd="0" destOrd="0" presId="urn:microsoft.com/office/officeart/2005/8/layout/list1"/>
    <dgm:cxn modelId="{2F5D22F5-9E5E-45BB-AF01-58B5D4B3FC02}" type="presOf" srcId="{374BFC2C-EE20-438E-B330-24F144DE28C0}" destId="{4C121153-6972-4FCB-84CC-1B94B589C10E}" srcOrd="1" destOrd="0" presId="urn:microsoft.com/office/officeart/2005/8/layout/list1"/>
    <dgm:cxn modelId="{89ED03A1-E6E0-4F1D-9E0C-F3C36279850A}" type="presParOf" srcId="{F11E460B-1B7C-4932-AD10-264D3EFF85BE}" destId="{C417DA66-DE42-4818-9A9B-8186F81B58C6}" srcOrd="0" destOrd="0" presId="urn:microsoft.com/office/officeart/2005/8/layout/list1"/>
    <dgm:cxn modelId="{59F88BB9-B4E8-4404-8E9B-AA608B8C73E0}" type="presParOf" srcId="{C417DA66-DE42-4818-9A9B-8186F81B58C6}" destId="{D663E13A-8A49-4DD7-B330-04998CC2B295}" srcOrd="0" destOrd="0" presId="urn:microsoft.com/office/officeart/2005/8/layout/list1"/>
    <dgm:cxn modelId="{42BD1DDD-2AD0-4BAE-9892-2E427BF4FB25}" type="presParOf" srcId="{C417DA66-DE42-4818-9A9B-8186F81B58C6}" destId="{0D1798D6-4AB1-4797-AF32-188A20BB3794}" srcOrd="1" destOrd="0" presId="urn:microsoft.com/office/officeart/2005/8/layout/list1"/>
    <dgm:cxn modelId="{1D5D90C9-54E7-4F40-AB8B-9B49260B486E}" type="presParOf" srcId="{F11E460B-1B7C-4932-AD10-264D3EFF85BE}" destId="{88F6A108-9CA1-4926-AD79-9819C31ABCC2}" srcOrd="1" destOrd="0" presId="urn:microsoft.com/office/officeart/2005/8/layout/list1"/>
    <dgm:cxn modelId="{ED25D31F-7E52-4B24-9585-059149639036}" type="presParOf" srcId="{F11E460B-1B7C-4932-AD10-264D3EFF85BE}" destId="{C29E9894-DA6E-43B7-AF81-D32E2111E777}" srcOrd="2" destOrd="0" presId="urn:microsoft.com/office/officeart/2005/8/layout/list1"/>
    <dgm:cxn modelId="{A90122D1-737E-4D20-9CBC-1ECB97C05D67}" type="presParOf" srcId="{F11E460B-1B7C-4932-AD10-264D3EFF85BE}" destId="{6257F7AA-DC77-434F-A4F0-D90057A1C4F3}" srcOrd="3" destOrd="0" presId="urn:microsoft.com/office/officeart/2005/8/layout/list1"/>
    <dgm:cxn modelId="{77CC6825-6C6A-4A70-8239-B2D6B75F5A8B}" type="presParOf" srcId="{F11E460B-1B7C-4932-AD10-264D3EFF85BE}" destId="{653E0B18-BED6-414A-95D2-1E9C13495316}" srcOrd="4" destOrd="0" presId="urn:microsoft.com/office/officeart/2005/8/layout/list1"/>
    <dgm:cxn modelId="{DADBD312-6E29-42DA-9BC5-620783C813B1}" type="presParOf" srcId="{653E0B18-BED6-414A-95D2-1E9C13495316}" destId="{D1E63D5F-84BD-41C4-A350-2FF1A6E93C45}" srcOrd="0" destOrd="0" presId="urn:microsoft.com/office/officeart/2005/8/layout/list1"/>
    <dgm:cxn modelId="{3361A146-3C4A-4977-9420-E67F043756E7}" type="presParOf" srcId="{653E0B18-BED6-414A-95D2-1E9C13495316}" destId="{D0495439-F5A5-483A-9F51-640AF9F982B7}" srcOrd="1" destOrd="0" presId="urn:microsoft.com/office/officeart/2005/8/layout/list1"/>
    <dgm:cxn modelId="{FF718F72-2E3F-4F62-9387-AC8F1C358297}" type="presParOf" srcId="{F11E460B-1B7C-4932-AD10-264D3EFF85BE}" destId="{CD73D9D2-202C-4413-A6E6-4DEC433BC38F}" srcOrd="5" destOrd="0" presId="urn:microsoft.com/office/officeart/2005/8/layout/list1"/>
    <dgm:cxn modelId="{EB5B0463-F9AB-4708-AB40-240D08D93D91}" type="presParOf" srcId="{F11E460B-1B7C-4932-AD10-264D3EFF85BE}" destId="{D59A7228-AAEE-44A0-B2B6-1E93EBF895FE}" srcOrd="6" destOrd="0" presId="urn:microsoft.com/office/officeart/2005/8/layout/list1"/>
    <dgm:cxn modelId="{6775DDE8-6856-4BFB-BB88-6DFD11F747BD}" type="presParOf" srcId="{F11E460B-1B7C-4932-AD10-264D3EFF85BE}" destId="{2BB43E85-4643-420B-B186-B6CC959A516E}" srcOrd="7" destOrd="0" presId="urn:microsoft.com/office/officeart/2005/8/layout/list1"/>
    <dgm:cxn modelId="{761F7E13-4B9C-45A3-A630-3C41CB9AB26D}" type="presParOf" srcId="{F11E460B-1B7C-4932-AD10-264D3EFF85BE}" destId="{8EE21A75-A7AA-493E-A893-EAED0C14CADA}" srcOrd="8" destOrd="0" presId="urn:microsoft.com/office/officeart/2005/8/layout/list1"/>
    <dgm:cxn modelId="{3BBF062F-61EB-46E7-A1A2-D24E7C575DCE}" type="presParOf" srcId="{8EE21A75-A7AA-493E-A893-EAED0C14CADA}" destId="{0C4D123D-4E9A-4D9E-A053-36EA40658547}" srcOrd="0" destOrd="0" presId="urn:microsoft.com/office/officeart/2005/8/layout/list1"/>
    <dgm:cxn modelId="{7329C700-2EA3-460C-B244-41FD485E7DA3}" type="presParOf" srcId="{8EE21A75-A7AA-493E-A893-EAED0C14CADA}" destId="{4C121153-6972-4FCB-84CC-1B94B589C10E}" srcOrd="1" destOrd="0" presId="urn:microsoft.com/office/officeart/2005/8/layout/list1"/>
    <dgm:cxn modelId="{D3BB9987-D5EA-4D1A-8BA9-68B1934A753A}" type="presParOf" srcId="{F11E460B-1B7C-4932-AD10-264D3EFF85BE}" destId="{A4B2786A-8850-456C-B590-C524BACB83AD}" srcOrd="9" destOrd="0" presId="urn:microsoft.com/office/officeart/2005/8/layout/list1"/>
    <dgm:cxn modelId="{2199053B-5FB5-491F-ACEE-1B40F7BA7705}" type="presParOf" srcId="{F11E460B-1B7C-4932-AD10-264D3EFF85BE}" destId="{AA7305E8-F7ED-4379-A322-7EA197B4ED22}" srcOrd="10" destOrd="0" presId="urn:microsoft.com/office/officeart/2005/8/layout/list1"/>
    <dgm:cxn modelId="{7A463857-92E0-49A9-9EA4-3199B80633EA}" type="presParOf" srcId="{F11E460B-1B7C-4932-AD10-264D3EFF85BE}" destId="{411431BE-97A3-4AA4-8D1B-CE0A43AD0884}" srcOrd="11" destOrd="0" presId="urn:microsoft.com/office/officeart/2005/8/layout/list1"/>
    <dgm:cxn modelId="{DD840218-9A37-4776-91A2-6FF49E893BB3}" type="presParOf" srcId="{F11E460B-1B7C-4932-AD10-264D3EFF85BE}" destId="{A40D1CB8-C3A5-4DF1-85FC-8E3065DC6F3D}" srcOrd="12" destOrd="0" presId="urn:microsoft.com/office/officeart/2005/8/layout/list1"/>
    <dgm:cxn modelId="{26CBA819-F655-4ACF-B7D4-1ED40391B305}" type="presParOf" srcId="{A40D1CB8-C3A5-4DF1-85FC-8E3065DC6F3D}" destId="{A4C58893-03CF-4254-B4D6-BA0600740E47}" srcOrd="0" destOrd="0" presId="urn:microsoft.com/office/officeart/2005/8/layout/list1"/>
    <dgm:cxn modelId="{270481E6-72EB-490E-882E-B30BEC0E5498}" type="presParOf" srcId="{A40D1CB8-C3A5-4DF1-85FC-8E3065DC6F3D}" destId="{D6689A6D-BAF8-4A96-8C02-C7921AAA1B43}" srcOrd="1" destOrd="0" presId="urn:microsoft.com/office/officeart/2005/8/layout/list1"/>
    <dgm:cxn modelId="{1765D34C-9F54-46F4-AE41-A32047F381F2}" type="presParOf" srcId="{F11E460B-1B7C-4932-AD10-264D3EFF85BE}" destId="{3441700D-1219-4CAB-A5A0-2CFA98F7C010}" srcOrd="13" destOrd="0" presId="urn:microsoft.com/office/officeart/2005/8/layout/list1"/>
    <dgm:cxn modelId="{C119EC27-FCC2-42A0-A919-59F14444616D}" type="presParOf" srcId="{F11E460B-1B7C-4932-AD10-264D3EFF85BE}" destId="{1E52B2E7-5C91-42A9-A945-D5678735BA66}" srcOrd="14" destOrd="0" presId="urn:microsoft.com/office/officeart/2005/8/layout/list1"/>
    <dgm:cxn modelId="{A8399915-968B-4AAA-BCCC-851FFFBB8F83}" type="presParOf" srcId="{F11E460B-1B7C-4932-AD10-264D3EFF85BE}" destId="{5CE31268-6E84-43AF-884F-5F5E95377521}" srcOrd="15" destOrd="0" presId="urn:microsoft.com/office/officeart/2005/8/layout/list1"/>
    <dgm:cxn modelId="{7609ED75-CF7A-4BF0-9A4A-75EED9BA8B9D}" type="presParOf" srcId="{F11E460B-1B7C-4932-AD10-264D3EFF85BE}" destId="{1B06513E-2586-4DF6-A983-063E28770107}" srcOrd="16" destOrd="0" presId="urn:microsoft.com/office/officeart/2005/8/layout/list1"/>
    <dgm:cxn modelId="{181EC996-23DF-4F53-A45A-22C0BB08490C}" type="presParOf" srcId="{1B06513E-2586-4DF6-A983-063E28770107}" destId="{B6DA9C87-6F47-4AF3-BA85-5E80890C9ABB}" srcOrd="0" destOrd="0" presId="urn:microsoft.com/office/officeart/2005/8/layout/list1"/>
    <dgm:cxn modelId="{3C6E9EF6-A0ED-4690-962B-75C9A869F3A7}" type="presParOf" srcId="{1B06513E-2586-4DF6-A983-063E28770107}" destId="{77AEE14C-27D9-401D-88D9-4501A777E357}" srcOrd="1" destOrd="0" presId="urn:microsoft.com/office/officeart/2005/8/layout/list1"/>
    <dgm:cxn modelId="{D45D28CD-4A0A-4857-9EBB-FD1B48A92BF5}" type="presParOf" srcId="{F11E460B-1B7C-4932-AD10-264D3EFF85BE}" destId="{65628270-2B53-4EAD-969F-7230AD704C23}" srcOrd="17" destOrd="0" presId="urn:microsoft.com/office/officeart/2005/8/layout/list1"/>
    <dgm:cxn modelId="{1CB949DA-1581-4CF5-ADE7-812286B76E40}" type="presParOf" srcId="{F11E460B-1B7C-4932-AD10-264D3EFF85BE}" destId="{456CF12E-A2A5-463E-9067-F59FE8AA896F}" srcOrd="18" destOrd="0" presId="urn:microsoft.com/office/officeart/2005/8/layout/list1"/>
    <dgm:cxn modelId="{C8EC20AF-53D0-4194-887B-A225B140E055}" type="presParOf" srcId="{F11E460B-1B7C-4932-AD10-264D3EFF85BE}" destId="{1B04ED2E-706C-4256-BB16-0B6DF8CAD3BC}" srcOrd="19" destOrd="0" presId="urn:microsoft.com/office/officeart/2005/8/layout/list1"/>
    <dgm:cxn modelId="{B6B06587-B22E-4E6E-84BD-3DD793B4082D}" type="presParOf" srcId="{F11E460B-1B7C-4932-AD10-264D3EFF85BE}" destId="{0A76EB45-0558-4A47-9FEF-684CB73B4D82}" srcOrd="20" destOrd="0" presId="urn:microsoft.com/office/officeart/2005/8/layout/list1"/>
    <dgm:cxn modelId="{8DD3BE67-5B18-4322-B45F-2D5039F7DBBC}" type="presParOf" srcId="{0A76EB45-0558-4A47-9FEF-684CB73B4D82}" destId="{EB5B67C3-7ED0-42AA-BF48-8F5FA2BAAFF6}" srcOrd="0" destOrd="0" presId="urn:microsoft.com/office/officeart/2005/8/layout/list1"/>
    <dgm:cxn modelId="{57F3327B-13A2-4005-A76B-D30CC7997A36}" type="presParOf" srcId="{0A76EB45-0558-4A47-9FEF-684CB73B4D82}" destId="{D10BEDA5-E359-4037-B3AC-7DF8336582DB}" srcOrd="1" destOrd="0" presId="urn:microsoft.com/office/officeart/2005/8/layout/list1"/>
    <dgm:cxn modelId="{004E687A-B9CB-48BF-937C-189E00B64EC4}" type="presParOf" srcId="{F11E460B-1B7C-4932-AD10-264D3EFF85BE}" destId="{AEB2511A-1AAE-41D8-B1CC-44304979339D}" srcOrd="21" destOrd="0" presId="urn:microsoft.com/office/officeart/2005/8/layout/list1"/>
    <dgm:cxn modelId="{1CF4E19A-53D8-444B-B77B-7D3F020BCDCD}" type="presParOf" srcId="{F11E460B-1B7C-4932-AD10-264D3EFF85BE}" destId="{EB353060-EB7D-4984-8DB5-54B4FB55425F}" srcOrd="2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F5C12F3-2132-4601-B6A5-EC216DAE2715}"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it-IT"/>
        </a:p>
      </dgm:t>
    </dgm:pt>
    <dgm:pt modelId="{DAA45776-7C72-4726-8F08-E292130EC189}">
      <dgm:prSet phldrT="[Testo]" custT="1"/>
      <dgm:spPr/>
      <dgm:t>
        <a:bodyPr/>
        <a:lstStyle/>
        <a:p>
          <a:r>
            <a:rPr lang="it-IT" sz="800" dirty="0"/>
            <a:t>13.04.2011</a:t>
          </a:r>
        </a:p>
      </dgm:t>
    </dgm:pt>
    <dgm:pt modelId="{43A3DA01-AC1F-4FA9-8D97-F9978C654F66}" type="parTrans" cxnId="{4A943A17-2737-4296-9779-38B6BAB4BCA7}">
      <dgm:prSet/>
      <dgm:spPr/>
      <dgm:t>
        <a:bodyPr/>
        <a:lstStyle/>
        <a:p>
          <a:endParaRPr lang="it-IT" sz="1200"/>
        </a:p>
      </dgm:t>
    </dgm:pt>
    <dgm:pt modelId="{66DB608D-8753-40F5-AB7B-07045D13F38E}" type="sibTrans" cxnId="{4A943A17-2737-4296-9779-38B6BAB4BCA7}">
      <dgm:prSet/>
      <dgm:spPr/>
      <dgm:t>
        <a:bodyPr/>
        <a:lstStyle/>
        <a:p>
          <a:endParaRPr lang="it-IT" sz="1200"/>
        </a:p>
      </dgm:t>
    </dgm:pt>
    <dgm:pt modelId="{DE3A5E68-EC84-4EC9-B2C6-CBC0EAE05AB9}">
      <dgm:prSet phldrT="[Testo]" custT="1"/>
      <dgm:spPr/>
      <dgm:t>
        <a:bodyPr/>
        <a:lstStyle/>
        <a:p>
          <a:r>
            <a:rPr lang="it-IT" sz="800" dirty="0"/>
            <a:t>06.03.2012</a:t>
          </a:r>
        </a:p>
      </dgm:t>
    </dgm:pt>
    <dgm:pt modelId="{76445D5C-F571-4583-A1E6-F322C1F33D6A}" type="parTrans" cxnId="{4F625C86-DBBC-45D3-B6F5-1E9E9F245113}">
      <dgm:prSet/>
      <dgm:spPr/>
      <dgm:t>
        <a:bodyPr/>
        <a:lstStyle/>
        <a:p>
          <a:endParaRPr lang="it-IT" sz="1200"/>
        </a:p>
      </dgm:t>
    </dgm:pt>
    <dgm:pt modelId="{17C7D29C-8C47-42EF-88A8-9B851FD972BB}" type="sibTrans" cxnId="{4F625C86-DBBC-45D3-B6F5-1E9E9F245113}">
      <dgm:prSet/>
      <dgm:spPr/>
      <dgm:t>
        <a:bodyPr/>
        <a:lstStyle/>
        <a:p>
          <a:endParaRPr lang="it-IT" sz="1200"/>
        </a:p>
      </dgm:t>
    </dgm:pt>
    <dgm:pt modelId="{FDB3D90F-9B3E-4CC0-A066-B76FFBA0C604}">
      <dgm:prSet phldrT="[Testo]" custT="1"/>
      <dgm:spPr/>
      <dgm:t>
        <a:bodyPr rIns="126000"/>
        <a:lstStyle/>
        <a:p>
          <a:pPr>
            <a:buFont typeface="Arial" panose="020B0604020202020204" pitchFamily="34" charset="0"/>
            <a:buNone/>
          </a:pPr>
          <a:r>
            <a:rPr lang="it-IT" sz="1200" dirty="0">
              <a:solidFill>
                <a:srgbClr val="000000"/>
              </a:solidFill>
            </a:rPr>
            <a:t>   </a:t>
          </a:r>
          <a:r>
            <a:rPr lang="it-IT" sz="1200" b="1" dirty="0">
              <a:solidFill>
                <a:srgbClr val="000000"/>
              </a:solidFill>
            </a:rPr>
            <a:t>ASPI ha consegnato il Progetto Preliminare </a:t>
          </a:r>
          <a:r>
            <a:rPr lang="it-IT" sz="1200" dirty="0">
              <a:solidFill>
                <a:srgbClr val="000000"/>
              </a:solidFill>
            </a:rPr>
            <a:t>alla Regione Liguria.</a:t>
          </a:r>
          <a:endParaRPr lang="it-IT" sz="1200" dirty="0"/>
        </a:p>
      </dgm:t>
    </dgm:pt>
    <dgm:pt modelId="{55CFF914-74D7-4E9E-8985-DE8D1E6A200D}" type="parTrans" cxnId="{2E21D057-3F69-4042-A4E9-9A2E6BA192DB}">
      <dgm:prSet/>
      <dgm:spPr/>
      <dgm:t>
        <a:bodyPr/>
        <a:lstStyle/>
        <a:p>
          <a:endParaRPr lang="it-IT" sz="1200"/>
        </a:p>
      </dgm:t>
    </dgm:pt>
    <dgm:pt modelId="{05BF58E6-4D96-42E7-BD65-AAC2AA7D25F3}" type="sibTrans" cxnId="{2E21D057-3F69-4042-A4E9-9A2E6BA192DB}">
      <dgm:prSet/>
      <dgm:spPr/>
      <dgm:t>
        <a:bodyPr/>
        <a:lstStyle/>
        <a:p>
          <a:endParaRPr lang="it-IT" sz="1200"/>
        </a:p>
      </dgm:t>
    </dgm:pt>
    <dgm:pt modelId="{12F2F5F0-9FDE-4FC8-8E74-F5427B382CA6}">
      <dgm:prSet phldrT="[Testo]" custT="1"/>
      <dgm:spPr/>
      <dgm:t>
        <a:bodyPr/>
        <a:lstStyle/>
        <a:p>
          <a:r>
            <a:rPr lang="it-IT" sz="800" dirty="0"/>
            <a:t>24.12.2013</a:t>
          </a:r>
        </a:p>
      </dgm:t>
    </dgm:pt>
    <dgm:pt modelId="{6891FC42-7B3B-489F-9CEC-9744DD947F50}" type="parTrans" cxnId="{7FAA57F9-B02C-49E3-9CAF-358B83E802D7}">
      <dgm:prSet/>
      <dgm:spPr/>
      <dgm:t>
        <a:bodyPr/>
        <a:lstStyle/>
        <a:p>
          <a:endParaRPr lang="it-IT" sz="1200"/>
        </a:p>
      </dgm:t>
    </dgm:pt>
    <dgm:pt modelId="{1D3F918C-E488-4C4A-AB34-EE11E53B08A4}" type="sibTrans" cxnId="{7FAA57F9-B02C-49E3-9CAF-358B83E802D7}">
      <dgm:prSet/>
      <dgm:spPr/>
      <dgm:t>
        <a:bodyPr/>
        <a:lstStyle/>
        <a:p>
          <a:endParaRPr lang="it-IT" sz="1200"/>
        </a:p>
      </dgm:t>
    </dgm:pt>
    <dgm:pt modelId="{1DE46B7B-281B-46D7-9413-21E83CC6CFE1}">
      <dgm:prSet phldrT="[Testo]" custT="1"/>
      <dgm:spPr/>
      <dgm:t>
        <a:bodyPr rIns="126000"/>
        <a:lstStyle/>
        <a:p>
          <a:pPr algn="just">
            <a:buFont typeface="Arial" panose="020B0604020202020204" pitchFamily="34" charset="0"/>
            <a:buNone/>
          </a:pPr>
          <a:r>
            <a:rPr lang="it-IT" sz="1200" dirty="0">
              <a:solidFill>
                <a:srgbClr val="000000"/>
              </a:solidFill>
            </a:rPr>
            <a:t>   È avvenuta </a:t>
          </a:r>
          <a:r>
            <a:rPr lang="it-IT" sz="1200" b="1" dirty="0">
              <a:solidFill>
                <a:srgbClr val="000000"/>
              </a:solidFill>
            </a:rPr>
            <a:t>la sottoscrizione dell’Atto Aggiuntivo alla Convenzione Unica tra ASPI e MIT </a:t>
          </a:r>
          <a:r>
            <a:rPr lang="it-IT" sz="1200" dirty="0">
              <a:solidFill>
                <a:srgbClr val="000000"/>
              </a:solidFill>
            </a:rPr>
            <a:t>che ha previsto </a:t>
          </a:r>
          <a:r>
            <a:rPr lang="it-IT" sz="1200" b="1" dirty="0">
              <a:solidFill>
                <a:srgbClr val="000000"/>
              </a:solidFill>
            </a:rPr>
            <a:t>l’inserimento nel Piano Economico Finanziario </a:t>
          </a:r>
          <a:r>
            <a:rPr lang="it-IT" sz="1200" dirty="0">
              <a:solidFill>
                <a:srgbClr val="000000"/>
              </a:solidFill>
            </a:rPr>
            <a:t>ad esso allegato </a:t>
          </a:r>
          <a:r>
            <a:rPr lang="it-IT" sz="1200" b="1" dirty="0">
              <a:solidFill>
                <a:srgbClr val="000000"/>
              </a:solidFill>
            </a:rPr>
            <a:t>degli oneri per la redazione del Progetto Definitivo e dello Studio di Impatto Ambientale</a:t>
          </a:r>
          <a:r>
            <a:rPr lang="it-IT" sz="1200" dirty="0">
              <a:solidFill>
                <a:srgbClr val="000000"/>
              </a:solidFill>
            </a:rPr>
            <a:t>.</a:t>
          </a:r>
          <a:endParaRPr lang="it-IT" sz="1200" dirty="0"/>
        </a:p>
      </dgm:t>
    </dgm:pt>
    <dgm:pt modelId="{9FB1A18D-F60F-4951-952C-4C973F1EAA8B}" type="parTrans" cxnId="{C417DD48-D2DB-4497-B58A-D08100EC1487}">
      <dgm:prSet/>
      <dgm:spPr/>
      <dgm:t>
        <a:bodyPr/>
        <a:lstStyle/>
        <a:p>
          <a:endParaRPr lang="it-IT" sz="1200"/>
        </a:p>
      </dgm:t>
    </dgm:pt>
    <dgm:pt modelId="{1B2DCF28-FB5A-4EDD-B049-2705F8F8B87F}" type="sibTrans" cxnId="{C417DD48-D2DB-4497-B58A-D08100EC1487}">
      <dgm:prSet/>
      <dgm:spPr/>
      <dgm:t>
        <a:bodyPr/>
        <a:lstStyle/>
        <a:p>
          <a:endParaRPr lang="it-IT" sz="1200"/>
        </a:p>
      </dgm:t>
    </dgm:pt>
    <dgm:pt modelId="{537329E2-49AA-429B-A226-989D37DA8117}">
      <dgm:prSet phldrT="[Testo]" custT="1"/>
      <dgm:spPr/>
      <dgm:t>
        <a:bodyPr vert="horz" lIns="91440" tIns="45720" rIns="126000" bIns="45720" rtlCol="0"/>
        <a:lstStyle/>
        <a:p>
          <a:pPr algn="just">
            <a:buFont typeface="Arial" panose="020B0604020202020204" pitchFamily="34" charset="0"/>
            <a:buNone/>
          </a:pPr>
          <a:r>
            <a:rPr lang="it-IT" sz="1200" dirty="0">
              <a:solidFill>
                <a:srgbClr val="000000"/>
              </a:solidFill>
            </a:rPr>
            <a:t>   </a:t>
          </a:r>
          <a:r>
            <a:rPr lang="it-IT" sz="1200" b="1" dirty="0">
              <a:solidFill>
                <a:srgbClr val="000000"/>
              </a:solidFill>
            </a:rPr>
            <a:t>ASPI</a:t>
          </a:r>
          <a:r>
            <a:rPr lang="it-IT" sz="1200" dirty="0">
              <a:solidFill>
                <a:srgbClr val="000000"/>
              </a:solidFill>
            </a:rPr>
            <a:t> ha stipulato un Protocollo di Intesa con il Ministero delle Infrastrutture, la Regione Liguria ed il Concedente, nel quale </a:t>
          </a:r>
          <a:r>
            <a:rPr lang="it-IT" sz="1200" b="1" dirty="0">
              <a:solidFill>
                <a:srgbClr val="000000"/>
              </a:solidFill>
            </a:rPr>
            <a:t>si impegnava a redigere la progettazione preliminare </a:t>
          </a:r>
          <a:r>
            <a:rPr lang="it-IT" sz="1200" dirty="0">
              <a:solidFill>
                <a:srgbClr val="000000"/>
              </a:solidFill>
            </a:rPr>
            <a:t>dell’intervento con un contributo da parte della Regione Liguria.</a:t>
          </a:r>
          <a:endParaRPr lang="it-IT" sz="1200" dirty="0"/>
        </a:p>
      </dgm:t>
    </dgm:pt>
    <dgm:pt modelId="{6E78AE74-CA0F-4FD1-B534-EDF1317B7100}" type="sibTrans" cxnId="{CEF1CEEF-411A-4213-9EB3-3DAB2FE30ABE}">
      <dgm:prSet/>
      <dgm:spPr/>
      <dgm:t>
        <a:bodyPr/>
        <a:lstStyle/>
        <a:p>
          <a:endParaRPr lang="it-IT" sz="1200"/>
        </a:p>
      </dgm:t>
    </dgm:pt>
    <dgm:pt modelId="{AD35FA20-B815-4293-A755-657CA9E40256}" type="parTrans" cxnId="{CEF1CEEF-411A-4213-9EB3-3DAB2FE30ABE}">
      <dgm:prSet/>
      <dgm:spPr/>
      <dgm:t>
        <a:bodyPr/>
        <a:lstStyle/>
        <a:p>
          <a:endParaRPr lang="it-IT" sz="1200"/>
        </a:p>
      </dgm:t>
    </dgm:pt>
    <dgm:pt modelId="{347C274D-5F3B-4D44-BA2E-D356021067C9}">
      <dgm:prSet phldrT="[Testo]" custT="1"/>
      <dgm:spPr/>
      <dgm:t>
        <a:bodyPr/>
        <a:lstStyle/>
        <a:p>
          <a:pPr algn="just"/>
          <a:r>
            <a:rPr lang="it-IT" sz="800" dirty="0"/>
            <a:t>25.03.2015</a:t>
          </a:r>
        </a:p>
      </dgm:t>
    </dgm:pt>
    <dgm:pt modelId="{7B2D2277-D951-4236-9CEA-0466EB4999C2}" type="parTrans" cxnId="{F978C634-DCD8-4162-A90B-E96F54F1FB5E}">
      <dgm:prSet/>
      <dgm:spPr/>
      <dgm:t>
        <a:bodyPr/>
        <a:lstStyle/>
        <a:p>
          <a:endParaRPr lang="it-IT"/>
        </a:p>
      </dgm:t>
    </dgm:pt>
    <dgm:pt modelId="{4216B870-D2F2-414E-8CD6-679A146C0A3E}" type="sibTrans" cxnId="{F978C634-DCD8-4162-A90B-E96F54F1FB5E}">
      <dgm:prSet/>
      <dgm:spPr/>
      <dgm:t>
        <a:bodyPr/>
        <a:lstStyle/>
        <a:p>
          <a:endParaRPr lang="it-IT"/>
        </a:p>
      </dgm:t>
    </dgm:pt>
    <dgm:pt modelId="{BE3A957F-438A-4837-88E7-ACED86B41F7B}">
      <dgm:prSet phldrT="[Testo]" custT="1"/>
      <dgm:spPr/>
      <dgm:t>
        <a:bodyPr rIns="126000"/>
        <a:lstStyle/>
        <a:p>
          <a:pPr>
            <a:buFont typeface="Arial" panose="020B0604020202020204" pitchFamily="34" charset="0"/>
            <a:buNone/>
          </a:pPr>
          <a:r>
            <a:rPr lang="it-IT" sz="1200" dirty="0">
              <a:solidFill>
                <a:srgbClr val="000000"/>
              </a:solidFill>
            </a:rPr>
            <a:t>   </a:t>
          </a:r>
          <a:r>
            <a:rPr lang="it-IT" sz="1200" b="1" dirty="0">
              <a:solidFill>
                <a:srgbClr val="000000"/>
              </a:solidFill>
            </a:rPr>
            <a:t>ASPI ha consegnato il Progetto Definitivo e lo Studio di Impatto Ambientale </a:t>
          </a:r>
          <a:r>
            <a:rPr lang="it-IT" sz="1200" dirty="0">
              <a:solidFill>
                <a:srgbClr val="000000"/>
              </a:solidFill>
            </a:rPr>
            <a:t>al MIT.</a:t>
          </a:r>
          <a:endParaRPr lang="it-IT" sz="1200" dirty="0"/>
        </a:p>
      </dgm:t>
    </dgm:pt>
    <dgm:pt modelId="{2150A1E0-D46A-42D2-87C8-21718D262522}" type="parTrans" cxnId="{826679E7-F193-4386-A85D-60B70F5B0D47}">
      <dgm:prSet/>
      <dgm:spPr/>
      <dgm:t>
        <a:bodyPr/>
        <a:lstStyle/>
        <a:p>
          <a:endParaRPr lang="it-IT"/>
        </a:p>
      </dgm:t>
    </dgm:pt>
    <dgm:pt modelId="{6A96E005-F533-44FB-8E09-AFC51138F408}" type="sibTrans" cxnId="{826679E7-F193-4386-A85D-60B70F5B0D47}">
      <dgm:prSet/>
      <dgm:spPr/>
      <dgm:t>
        <a:bodyPr/>
        <a:lstStyle/>
        <a:p>
          <a:endParaRPr lang="it-IT"/>
        </a:p>
      </dgm:t>
    </dgm:pt>
    <dgm:pt modelId="{8FD17C13-30D3-480B-B129-DF008B5FCBD3}">
      <dgm:prSet phldrT="[Testo]" custT="1"/>
      <dgm:spPr/>
      <dgm:t>
        <a:bodyPr/>
        <a:lstStyle/>
        <a:p>
          <a:r>
            <a:rPr lang="it-IT" sz="800" dirty="0"/>
            <a:t>14.10.2021</a:t>
          </a:r>
        </a:p>
      </dgm:t>
    </dgm:pt>
    <dgm:pt modelId="{5FB4B464-3788-4529-9E74-79441D25A535}" type="parTrans" cxnId="{DCA77D7D-3DAB-4582-A582-B1F0D0FF02D5}">
      <dgm:prSet/>
      <dgm:spPr/>
      <dgm:t>
        <a:bodyPr/>
        <a:lstStyle/>
        <a:p>
          <a:endParaRPr lang="it-IT"/>
        </a:p>
      </dgm:t>
    </dgm:pt>
    <dgm:pt modelId="{3EF6A947-8C0A-4FBA-9761-E69985B17AC7}" type="sibTrans" cxnId="{DCA77D7D-3DAB-4582-A582-B1F0D0FF02D5}">
      <dgm:prSet/>
      <dgm:spPr/>
      <dgm:t>
        <a:bodyPr/>
        <a:lstStyle/>
        <a:p>
          <a:endParaRPr lang="it-IT"/>
        </a:p>
      </dgm:t>
    </dgm:pt>
    <dgm:pt modelId="{B7961C77-4CB7-4E8A-B5B4-AA2ED4DA8C5C}">
      <dgm:prSet phldrT="[Testo]" custT="1"/>
      <dgm:spPr/>
      <dgm:t>
        <a:bodyPr rIns="126000"/>
        <a:lstStyle/>
        <a:p>
          <a:pPr algn="just">
            <a:buFont typeface="Arial" panose="020B0604020202020204" pitchFamily="34" charset="0"/>
            <a:buNone/>
          </a:pPr>
          <a:r>
            <a:rPr lang="it-IT" sz="1200" dirty="0">
              <a:solidFill>
                <a:srgbClr val="000000"/>
              </a:solidFill>
            </a:rPr>
            <a:t>   </a:t>
          </a:r>
          <a:r>
            <a:rPr lang="it-IT" sz="1200" b="1" dirty="0">
              <a:solidFill>
                <a:srgbClr val="000000"/>
              </a:solidFill>
            </a:rPr>
            <a:t>ASPI</a:t>
          </a:r>
          <a:r>
            <a:rPr lang="it-IT" sz="1200" dirty="0">
              <a:solidFill>
                <a:srgbClr val="000000"/>
              </a:solidFill>
            </a:rPr>
            <a:t> ha stipulato un accordo di intesa con le Autorità liguri, nel quale </a:t>
          </a:r>
          <a:r>
            <a:rPr lang="it-IT" sz="1200" b="1" dirty="0">
              <a:solidFill>
                <a:srgbClr val="000000"/>
              </a:solidFill>
            </a:rPr>
            <a:t>si impegnava a realizzare a suo carico il collegamento autostradale tra Val Fontanabuona e l’A12.</a:t>
          </a:r>
        </a:p>
      </dgm:t>
    </dgm:pt>
    <dgm:pt modelId="{D3606239-3525-4B4C-8F3F-E5BD5431FB4C}" type="parTrans" cxnId="{5C3C4B1C-E746-498C-9EA8-B2D0AEA6BC9B}">
      <dgm:prSet/>
      <dgm:spPr/>
      <dgm:t>
        <a:bodyPr/>
        <a:lstStyle/>
        <a:p>
          <a:endParaRPr lang="it-IT"/>
        </a:p>
      </dgm:t>
    </dgm:pt>
    <dgm:pt modelId="{D410B88C-1542-4EA0-A2F8-1FC454D6AB46}" type="sibTrans" cxnId="{5C3C4B1C-E746-498C-9EA8-B2D0AEA6BC9B}">
      <dgm:prSet/>
      <dgm:spPr/>
      <dgm:t>
        <a:bodyPr/>
        <a:lstStyle/>
        <a:p>
          <a:endParaRPr lang="it-IT"/>
        </a:p>
      </dgm:t>
    </dgm:pt>
    <dgm:pt modelId="{33CB3D65-C7B5-47DC-ADF7-FCB847C8425D}">
      <dgm:prSet custT="1"/>
      <dgm:spPr/>
      <dgm:t>
        <a:bodyPr/>
        <a:lstStyle/>
        <a:p>
          <a:r>
            <a:rPr lang="it-IT" sz="800" dirty="0"/>
            <a:t>03.03.2022</a:t>
          </a:r>
        </a:p>
      </dgm:t>
    </dgm:pt>
    <dgm:pt modelId="{649836B1-5CB8-4D3A-B1CC-9D2F4F6A900A}" type="parTrans" cxnId="{2AED64F8-C4D1-4DD9-882C-998578AD82A7}">
      <dgm:prSet/>
      <dgm:spPr/>
      <dgm:t>
        <a:bodyPr/>
        <a:lstStyle/>
        <a:p>
          <a:endParaRPr lang="it-IT"/>
        </a:p>
      </dgm:t>
    </dgm:pt>
    <dgm:pt modelId="{B176AF9A-2BCD-4E9C-B676-13039DF3F705}" type="sibTrans" cxnId="{2AED64F8-C4D1-4DD9-882C-998578AD82A7}">
      <dgm:prSet/>
      <dgm:spPr/>
      <dgm:t>
        <a:bodyPr/>
        <a:lstStyle/>
        <a:p>
          <a:endParaRPr lang="it-IT"/>
        </a:p>
      </dgm:t>
    </dgm:pt>
    <dgm:pt modelId="{A015B295-9CF7-4C9C-98D2-902A62FF827F}">
      <dgm:prSet custT="1"/>
      <dgm:spPr/>
      <dgm:t>
        <a:bodyPr/>
        <a:lstStyle/>
        <a:p>
          <a:pPr>
            <a:buNone/>
          </a:pPr>
          <a:r>
            <a:rPr lang="it-IT" sz="1200" b="1" dirty="0">
              <a:solidFill>
                <a:srgbClr val="000000"/>
              </a:solidFill>
            </a:rPr>
            <a:t>   ASPI ha inviato nuovamente </a:t>
          </a:r>
          <a:r>
            <a:rPr lang="it-IT" sz="1200" b="0" dirty="0">
              <a:solidFill>
                <a:srgbClr val="000000"/>
              </a:solidFill>
            </a:rPr>
            <a:t>al MIMS </a:t>
          </a:r>
          <a:r>
            <a:rPr lang="it-IT" sz="1200" b="1" dirty="0">
              <a:solidFill>
                <a:srgbClr val="000000"/>
              </a:solidFill>
            </a:rPr>
            <a:t>la documentazione progettuale </a:t>
          </a:r>
          <a:r>
            <a:rPr lang="it-IT" sz="1200" b="0" dirty="0">
              <a:solidFill>
                <a:srgbClr val="000000"/>
              </a:solidFill>
            </a:rPr>
            <a:t>(Progetto Definitivo comprensivo di Studio di Impatto Ambientale) </a:t>
          </a:r>
          <a:r>
            <a:rPr lang="it-IT" sz="1200" b="1" dirty="0">
              <a:solidFill>
                <a:srgbClr val="000000"/>
              </a:solidFill>
            </a:rPr>
            <a:t>conforme alle Linee Guida per l’esame dei progetti emanate dal Consiglio Superiore dei Lavori Pubblici.</a:t>
          </a:r>
          <a:endParaRPr lang="it-IT" sz="3300" dirty="0"/>
        </a:p>
      </dgm:t>
    </dgm:pt>
    <dgm:pt modelId="{48393B66-6632-4B97-A564-D701731EF597}" type="parTrans" cxnId="{396E228B-E7B4-42A1-8D57-2B225E30FC21}">
      <dgm:prSet/>
      <dgm:spPr/>
      <dgm:t>
        <a:bodyPr/>
        <a:lstStyle/>
        <a:p>
          <a:endParaRPr lang="it-IT"/>
        </a:p>
      </dgm:t>
    </dgm:pt>
    <dgm:pt modelId="{DC1EC221-60B9-4BC5-8128-8A6BBF1C0C12}" type="sibTrans" cxnId="{396E228B-E7B4-42A1-8D57-2B225E30FC21}">
      <dgm:prSet/>
      <dgm:spPr/>
      <dgm:t>
        <a:bodyPr/>
        <a:lstStyle/>
        <a:p>
          <a:endParaRPr lang="it-IT"/>
        </a:p>
      </dgm:t>
    </dgm:pt>
    <dgm:pt modelId="{AAE44097-F72D-4CDA-B0ED-63AFEA5D1B99}">
      <dgm:prSet custT="1"/>
      <dgm:spPr/>
      <dgm:t>
        <a:bodyPr/>
        <a:lstStyle/>
        <a:p>
          <a:r>
            <a:rPr lang="it-IT" sz="800" dirty="0">
              <a:solidFill>
                <a:schemeClr val="bg1"/>
              </a:solidFill>
            </a:rPr>
            <a:t>31.03.2022</a:t>
          </a:r>
        </a:p>
      </dgm:t>
    </dgm:pt>
    <dgm:pt modelId="{A735A157-D656-46AC-B28E-50867639FE86}" type="sibTrans" cxnId="{E93E282A-9126-4E6E-AD26-CBF3BFD5AF6D}">
      <dgm:prSet/>
      <dgm:spPr/>
      <dgm:t>
        <a:bodyPr/>
        <a:lstStyle/>
        <a:p>
          <a:endParaRPr lang="it-IT"/>
        </a:p>
      </dgm:t>
    </dgm:pt>
    <dgm:pt modelId="{623AC11E-D05B-4067-988B-5BE251AA02AB}" type="parTrans" cxnId="{E93E282A-9126-4E6E-AD26-CBF3BFD5AF6D}">
      <dgm:prSet/>
      <dgm:spPr/>
      <dgm:t>
        <a:bodyPr/>
        <a:lstStyle/>
        <a:p>
          <a:endParaRPr lang="it-IT"/>
        </a:p>
      </dgm:t>
    </dgm:pt>
    <dgm:pt modelId="{88A6C9B6-31B1-42AE-8D1B-142DD2773C74}">
      <dgm:prSet custT="1"/>
      <dgm:spPr/>
      <dgm:t>
        <a:bodyPr/>
        <a:lstStyle/>
        <a:p>
          <a:pPr>
            <a:buNone/>
          </a:pPr>
          <a:r>
            <a:rPr lang="it-IT" sz="1200" b="1" dirty="0">
              <a:solidFill>
                <a:srgbClr val="000000"/>
              </a:solidFill>
            </a:rPr>
            <a:t>   ASPI ha presentato l’istanza </a:t>
          </a:r>
          <a:r>
            <a:rPr lang="it-IT" sz="1200" b="0" dirty="0">
              <a:solidFill>
                <a:srgbClr val="000000"/>
              </a:solidFill>
            </a:rPr>
            <a:t>per</a:t>
          </a:r>
          <a:r>
            <a:rPr lang="it-IT" sz="1200" b="1" dirty="0">
              <a:solidFill>
                <a:srgbClr val="000000"/>
              </a:solidFill>
            </a:rPr>
            <a:t> </a:t>
          </a:r>
          <a:r>
            <a:rPr lang="it-IT" sz="1200" b="0" dirty="0">
              <a:solidFill>
                <a:srgbClr val="000000"/>
              </a:solidFill>
            </a:rPr>
            <a:t>l’avvio della procedura </a:t>
          </a:r>
          <a:r>
            <a:rPr lang="it-IT" sz="1200" b="1" dirty="0">
              <a:solidFill>
                <a:srgbClr val="000000"/>
              </a:solidFill>
            </a:rPr>
            <a:t>di Valutazione di Impatto Ambientale, </a:t>
          </a:r>
          <a:r>
            <a:rPr lang="it-IT" sz="1200" b="0" dirty="0">
              <a:solidFill>
                <a:srgbClr val="000000"/>
              </a:solidFill>
            </a:rPr>
            <a:t>trasmettendo</a:t>
          </a:r>
          <a:r>
            <a:rPr lang="it-IT" sz="1200" b="1" dirty="0">
              <a:solidFill>
                <a:srgbClr val="000000"/>
              </a:solidFill>
            </a:rPr>
            <a:t> al MITE </a:t>
          </a:r>
          <a:r>
            <a:rPr lang="it-IT" sz="1200" b="0" dirty="0">
              <a:solidFill>
                <a:srgbClr val="000000"/>
              </a:solidFill>
            </a:rPr>
            <a:t>lo Studio di Impatto Ambientale aggiornato.</a:t>
          </a:r>
          <a:endParaRPr lang="it-IT" sz="1200" b="0" dirty="0"/>
        </a:p>
      </dgm:t>
    </dgm:pt>
    <dgm:pt modelId="{F1087057-88FB-4184-A1EA-F88C41A7E4A7}" type="parTrans" cxnId="{5D6F5837-E54A-471E-912B-FCD810BAE73E}">
      <dgm:prSet/>
      <dgm:spPr/>
      <dgm:t>
        <a:bodyPr/>
        <a:lstStyle/>
        <a:p>
          <a:endParaRPr lang="it-IT"/>
        </a:p>
      </dgm:t>
    </dgm:pt>
    <dgm:pt modelId="{B812D738-C819-405C-B9D6-E75573E0F233}" type="sibTrans" cxnId="{5D6F5837-E54A-471E-912B-FCD810BAE73E}">
      <dgm:prSet/>
      <dgm:spPr/>
      <dgm:t>
        <a:bodyPr/>
        <a:lstStyle/>
        <a:p>
          <a:endParaRPr lang="it-IT"/>
        </a:p>
      </dgm:t>
    </dgm:pt>
    <dgm:pt modelId="{B541F21C-3E42-456C-913A-D6631B57094B}" type="pres">
      <dgm:prSet presAssocID="{9F5C12F3-2132-4601-B6A5-EC216DAE2715}" presName="linearFlow" presStyleCnt="0">
        <dgm:presLayoutVars>
          <dgm:dir/>
          <dgm:animLvl val="lvl"/>
          <dgm:resizeHandles val="exact"/>
        </dgm:presLayoutVars>
      </dgm:prSet>
      <dgm:spPr/>
    </dgm:pt>
    <dgm:pt modelId="{BBCD0201-B904-4917-B932-F395E76AD8AA}" type="pres">
      <dgm:prSet presAssocID="{DAA45776-7C72-4726-8F08-E292130EC189}" presName="composite" presStyleCnt="0"/>
      <dgm:spPr/>
    </dgm:pt>
    <dgm:pt modelId="{9FFFB802-65C0-4509-AC0E-223CDA9CD68C}" type="pres">
      <dgm:prSet presAssocID="{DAA45776-7C72-4726-8F08-E292130EC189}" presName="parentText" presStyleLbl="alignNode1" presStyleIdx="0" presStyleCnt="7" custScaleX="105740">
        <dgm:presLayoutVars>
          <dgm:chMax val="1"/>
          <dgm:bulletEnabled val="1"/>
        </dgm:presLayoutVars>
      </dgm:prSet>
      <dgm:spPr/>
    </dgm:pt>
    <dgm:pt modelId="{FCDAA07B-2354-4AE4-A68E-45E9DE485E98}" type="pres">
      <dgm:prSet presAssocID="{DAA45776-7C72-4726-8F08-E292130EC189}" presName="descendantText" presStyleLbl="alignAcc1" presStyleIdx="0" presStyleCnt="7" custScaleX="99743" custLinFactNeighborX="704" custLinFactNeighborY="-83">
        <dgm:presLayoutVars>
          <dgm:bulletEnabled val="1"/>
        </dgm:presLayoutVars>
      </dgm:prSet>
      <dgm:spPr>
        <a:xfrm rot="5400000">
          <a:off x="4990522" y="-3861925"/>
          <a:ext cx="907590" cy="8634095"/>
        </a:xfrm>
        <a:prstGeom prst="round2SameRect">
          <a:avLst/>
        </a:prstGeom>
      </dgm:spPr>
    </dgm:pt>
    <dgm:pt modelId="{CE645BF8-DD72-49C5-9E91-3759AC08DDB0}" type="pres">
      <dgm:prSet presAssocID="{66DB608D-8753-40F5-AB7B-07045D13F38E}" presName="sp" presStyleCnt="0"/>
      <dgm:spPr/>
    </dgm:pt>
    <dgm:pt modelId="{ED94B92F-3002-4B2F-9126-E96B815FB588}" type="pres">
      <dgm:prSet presAssocID="{DE3A5E68-EC84-4EC9-B2C6-CBC0EAE05AB9}" presName="composite" presStyleCnt="0"/>
      <dgm:spPr/>
    </dgm:pt>
    <dgm:pt modelId="{66F641F7-52B4-443F-90BE-F0E0F5E9A354}" type="pres">
      <dgm:prSet presAssocID="{DE3A5E68-EC84-4EC9-B2C6-CBC0EAE05AB9}" presName="parentText" presStyleLbl="alignNode1" presStyleIdx="1" presStyleCnt="7" custScaleX="103313" custLinFactNeighborY="-3627">
        <dgm:presLayoutVars>
          <dgm:chMax val="1"/>
          <dgm:bulletEnabled val="1"/>
        </dgm:presLayoutVars>
      </dgm:prSet>
      <dgm:spPr/>
    </dgm:pt>
    <dgm:pt modelId="{94000391-9BC6-46ED-AD22-6FA2A0A3E297}" type="pres">
      <dgm:prSet presAssocID="{DE3A5E68-EC84-4EC9-B2C6-CBC0EAE05AB9}" presName="descendantText" presStyleLbl="alignAcc1" presStyleIdx="1" presStyleCnt="7" custLinFactNeighborY="-5580">
        <dgm:presLayoutVars>
          <dgm:bulletEnabled val="1"/>
        </dgm:presLayoutVars>
      </dgm:prSet>
      <dgm:spPr/>
    </dgm:pt>
    <dgm:pt modelId="{4D48F50E-3AFE-42C5-BDC0-9EF5A388313F}" type="pres">
      <dgm:prSet presAssocID="{17C7D29C-8C47-42EF-88A8-9B851FD972BB}" presName="sp" presStyleCnt="0"/>
      <dgm:spPr/>
    </dgm:pt>
    <dgm:pt modelId="{1DB2932C-59C5-496F-AF58-2BF4EE37C9D2}" type="pres">
      <dgm:prSet presAssocID="{12F2F5F0-9FDE-4FC8-8E74-F5427B382CA6}" presName="composite" presStyleCnt="0"/>
      <dgm:spPr/>
    </dgm:pt>
    <dgm:pt modelId="{24ED90B9-5E25-41EE-B93C-13828CA1576E}" type="pres">
      <dgm:prSet presAssocID="{12F2F5F0-9FDE-4FC8-8E74-F5427B382CA6}" presName="parentText" presStyleLbl="alignNode1" presStyleIdx="2" presStyleCnt="7" custScaleX="103313" custLinFactNeighborY="-7254">
        <dgm:presLayoutVars>
          <dgm:chMax val="1"/>
          <dgm:bulletEnabled val="1"/>
        </dgm:presLayoutVars>
      </dgm:prSet>
      <dgm:spPr/>
    </dgm:pt>
    <dgm:pt modelId="{912D006F-250A-4F23-9001-633071F566C8}" type="pres">
      <dgm:prSet presAssocID="{12F2F5F0-9FDE-4FC8-8E74-F5427B382CA6}" presName="descendantText" presStyleLbl="alignAcc1" presStyleIdx="2" presStyleCnt="7" custLinFactNeighborY="-11160">
        <dgm:presLayoutVars>
          <dgm:bulletEnabled val="1"/>
        </dgm:presLayoutVars>
      </dgm:prSet>
      <dgm:spPr/>
    </dgm:pt>
    <dgm:pt modelId="{F4CCC9AC-6A4A-4462-9AA0-09A7F33E834E}" type="pres">
      <dgm:prSet presAssocID="{1D3F918C-E488-4C4A-AB34-EE11E53B08A4}" presName="sp" presStyleCnt="0"/>
      <dgm:spPr/>
    </dgm:pt>
    <dgm:pt modelId="{A7BCCFC9-5BE4-4542-B0EF-8888A5B372A1}" type="pres">
      <dgm:prSet presAssocID="{347C274D-5F3B-4D44-BA2E-D356021067C9}" presName="composite" presStyleCnt="0"/>
      <dgm:spPr/>
    </dgm:pt>
    <dgm:pt modelId="{428D7837-AC8B-48D7-976A-B677FDBB8397}" type="pres">
      <dgm:prSet presAssocID="{347C274D-5F3B-4D44-BA2E-D356021067C9}" presName="parentText" presStyleLbl="alignNode1" presStyleIdx="3" presStyleCnt="7" custScaleX="103313" custLinFactNeighborY="-10881">
        <dgm:presLayoutVars>
          <dgm:chMax val="1"/>
          <dgm:bulletEnabled val="1"/>
        </dgm:presLayoutVars>
      </dgm:prSet>
      <dgm:spPr/>
    </dgm:pt>
    <dgm:pt modelId="{E83E96DE-2429-4E2A-8FB7-08189F01C69B}" type="pres">
      <dgm:prSet presAssocID="{347C274D-5F3B-4D44-BA2E-D356021067C9}" presName="descendantText" presStyleLbl="alignAcc1" presStyleIdx="3" presStyleCnt="7" custLinFactNeighborY="-16740">
        <dgm:presLayoutVars>
          <dgm:bulletEnabled val="1"/>
        </dgm:presLayoutVars>
      </dgm:prSet>
      <dgm:spPr/>
    </dgm:pt>
    <dgm:pt modelId="{7CE7EF05-E1A7-4599-9D8B-143A5B0940FD}" type="pres">
      <dgm:prSet presAssocID="{4216B870-D2F2-414E-8CD6-679A146C0A3E}" presName="sp" presStyleCnt="0"/>
      <dgm:spPr/>
    </dgm:pt>
    <dgm:pt modelId="{AB43EB3B-9161-4386-B29B-AEB1AB9C5F03}" type="pres">
      <dgm:prSet presAssocID="{8FD17C13-30D3-480B-B129-DF008B5FCBD3}" presName="composite" presStyleCnt="0"/>
      <dgm:spPr/>
    </dgm:pt>
    <dgm:pt modelId="{F8C75987-530E-4336-8076-67986D51F4BB}" type="pres">
      <dgm:prSet presAssocID="{8FD17C13-30D3-480B-B129-DF008B5FCBD3}" presName="parentText" presStyleLbl="alignNode1" presStyleIdx="4" presStyleCnt="7" custScaleX="103313" custLinFactNeighborY="-14508">
        <dgm:presLayoutVars>
          <dgm:chMax val="1"/>
          <dgm:bulletEnabled val="1"/>
        </dgm:presLayoutVars>
      </dgm:prSet>
      <dgm:spPr/>
    </dgm:pt>
    <dgm:pt modelId="{91E6DB43-61BD-4FDC-8C0C-D667A2332926}" type="pres">
      <dgm:prSet presAssocID="{8FD17C13-30D3-480B-B129-DF008B5FCBD3}" presName="descendantText" presStyleLbl="alignAcc1" presStyleIdx="4" presStyleCnt="7" custLinFactNeighborY="-22308">
        <dgm:presLayoutVars>
          <dgm:bulletEnabled val="1"/>
        </dgm:presLayoutVars>
      </dgm:prSet>
      <dgm:spPr/>
    </dgm:pt>
    <dgm:pt modelId="{6F41E776-6527-40F3-B8AB-89D4A95C3AF9}" type="pres">
      <dgm:prSet presAssocID="{3EF6A947-8C0A-4FBA-9761-E69985B17AC7}" presName="sp" presStyleCnt="0"/>
      <dgm:spPr/>
    </dgm:pt>
    <dgm:pt modelId="{71469263-43A8-4316-9057-615E272234FE}" type="pres">
      <dgm:prSet presAssocID="{33CB3D65-C7B5-47DC-ADF7-FCB847C8425D}" presName="composite" presStyleCnt="0"/>
      <dgm:spPr/>
    </dgm:pt>
    <dgm:pt modelId="{DA78B2C3-F7C5-4F1B-9B2B-EB8D77455ADC}" type="pres">
      <dgm:prSet presAssocID="{33CB3D65-C7B5-47DC-ADF7-FCB847C8425D}" presName="parentText" presStyleLbl="alignNode1" presStyleIdx="5" presStyleCnt="7" custLinFactNeighborY="-15680">
        <dgm:presLayoutVars>
          <dgm:chMax val="1"/>
          <dgm:bulletEnabled val="1"/>
        </dgm:presLayoutVars>
      </dgm:prSet>
      <dgm:spPr/>
    </dgm:pt>
    <dgm:pt modelId="{B09676FC-5CC0-40E9-A2DF-97AEB4541C45}" type="pres">
      <dgm:prSet presAssocID="{33CB3D65-C7B5-47DC-ADF7-FCB847C8425D}" presName="descendantText" presStyleLbl="alignAcc1" presStyleIdx="5" presStyleCnt="7" custLinFactNeighborY="-24122">
        <dgm:presLayoutVars>
          <dgm:bulletEnabled val="1"/>
        </dgm:presLayoutVars>
      </dgm:prSet>
      <dgm:spPr/>
    </dgm:pt>
    <dgm:pt modelId="{1F420F37-4AE3-4169-AF1F-B1B0AC174B82}" type="pres">
      <dgm:prSet presAssocID="{B176AF9A-2BCD-4E9C-B676-13039DF3F705}" presName="sp" presStyleCnt="0"/>
      <dgm:spPr/>
    </dgm:pt>
    <dgm:pt modelId="{6337AEBB-F192-4CD7-B64E-34D2F42F61B3}" type="pres">
      <dgm:prSet presAssocID="{AAE44097-F72D-4CDA-B0ED-63AFEA5D1B99}" presName="composite" presStyleCnt="0"/>
      <dgm:spPr/>
    </dgm:pt>
    <dgm:pt modelId="{994586A2-93CE-42C6-8A54-DEA7A9C04D82}" type="pres">
      <dgm:prSet presAssocID="{AAE44097-F72D-4CDA-B0ED-63AFEA5D1B99}" presName="parentText" presStyleLbl="alignNode1" presStyleIdx="6" presStyleCnt="7" custLinFactNeighborY="-15680">
        <dgm:presLayoutVars>
          <dgm:chMax val="1"/>
          <dgm:bulletEnabled val="1"/>
        </dgm:presLayoutVars>
      </dgm:prSet>
      <dgm:spPr/>
    </dgm:pt>
    <dgm:pt modelId="{82D0A068-8AC8-4654-80DB-8A2D962961DA}" type="pres">
      <dgm:prSet presAssocID="{AAE44097-F72D-4CDA-B0ED-63AFEA5D1B99}" presName="descendantText" presStyleLbl="alignAcc1" presStyleIdx="6" presStyleCnt="7" custLinFactNeighborY="-24440">
        <dgm:presLayoutVars>
          <dgm:bulletEnabled val="1"/>
        </dgm:presLayoutVars>
      </dgm:prSet>
      <dgm:spPr/>
    </dgm:pt>
  </dgm:ptLst>
  <dgm:cxnLst>
    <dgm:cxn modelId="{A0915C15-CC89-4006-B095-44F2D085B44E}" type="presOf" srcId="{1DE46B7B-281B-46D7-9413-21E83CC6CFE1}" destId="{912D006F-250A-4F23-9001-633071F566C8}" srcOrd="0" destOrd="0" presId="urn:microsoft.com/office/officeart/2005/8/layout/chevron2"/>
    <dgm:cxn modelId="{4A943A17-2737-4296-9779-38B6BAB4BCA7}" srcId="{9F5C12F3-2132-4601-B6A5-EC216DAE2715}" destId="{DAA45776-7C72-4726-8F08-E292130EC189}" srcOrd="0" destOrd="0" parTransId="{43A3DA01-AC1F-4FA9-8D97-F9978C654F66}" sibTransId="{66DB608D-8753-40F5-AB7B-07045D13F38E}"/>
    <dgm:cxn modelId="{E852401C-FEEA-4B8A-8ABC-53888508D263}" type="presOf" srcId="{12F2F5F0-9FDE-4FC8-8E74-F5427B382CA6}" destId="{24ED90B9-5E25-41EE-B93C-13828CA1576E}" srcOrd="0" destOrd="0" presId="urn:microsoft.com/office/officeart/2005/8/layout/chevron2"/>
    <dgm:cxn modelId="{5C3C4B1C-E746-498C-9EA8-B2D0AEA6BC9B}" srcId="{8FD17C13-30D3-480B-B129-DF008B5FCBD3}" destId="{B7961C77-4CB7-4E8A-B5B4-AA2ED4DA8C5C}" srcOrd="0" destOrd="0" parTransId="{D3606239-3525-4B4C-8F3F-E5BD5431FB4C}" sibTransId="{D410B88C-1542-4EA0-A2F8-1FC454D6AB46}"/>
    <dgm:cxn modelId="{CECE3622-D76E-4C73-97BF-28534CC511BB}" type="presOf" srcId="{DAA45776-7C72-4726-8F08-E292130EC189}" destId="{9FFFB802-65C0-4509-AC0E-223CDA9CD68C}" srcOrd="0" destOrd="0" presId="urn:microsoft.com/office/officeart/2005/8/layout/chevron2"/>
    <dgm:cxn modelId="{E93E282A-9126-4E6E-AD26-CBF3BFD5AF6D}" srcId="{9F5C12F3-2132-4601-B6A5-EC216DAE2715}" destId="{AAE44097-F72D-4CDA-B0ED-63AFEA5D1B99}" srcOrd="6" destOrd="0" parTransId="{623AC11E-D05B-4067-988B-5BE251AA02AB}" sibTransId="{A735A157-D656-46AC-B28E-50867639FE86}"/>
    <dgm:cxn modelId="{F978C634-DCD8-4162-A90B-E96F54F1FB5E}" srcId="{9F5C12F3-2132-4601-B6A5-EC216DAE2715}" destId="{347C274D-5F3B-4D44-BA2E-D356021067C9}" srcOrd="3" destOrd="0" parTransId="{7B2D2277-D951-4236-9CEA-0466EB4999C2}" sibTransId="{4216B870-D2F2-414E-8CD6-679A146C0A3E}"/>
    <dgm:cxn modelId="{5D6F5837-E54A-471E-912B-FCD810BAE73E}" srcId="{AAE44097-F72D-4CDA-B0ED-63AFEA5D1B99}" destId="{88A6C9B6-31B1-42AE-8D1B-142DD2773C74}" srcOrd="0" destOrd="0" parTransId="{F1087057-88FB-4184-A1EA-F88C41A7E4A7}" sibTransId="{B812D738-C819-405C-B9D6-E75573E0F233}"/>
    <dgm:cxn modelId="{C417DD48-D2DB-4497-B58A-D08100EC1487}" srcId="{12F2F5F0-9FDE-4FC8-8E74-F5427B382CA6}" destId="{1DE46B7B-281B-46D7-9413-21E83CC6CFE1}" srcOrd="0" destOrd="0" parTransId="{9FB1A18D-F60F-4951-952C-4C973F1EAA8B}" sibTransId="{1B2DCF28-FB5A-4EDD-B049-2705F8F8B87F}"/>
    <dgm:cxn modelId="{6C9CE176-6BE3-41C6-822C-3DF27A491BCA}" type="presOf" srcId="{33CB3D65-C7B5-47DC-ADF7-FCB847C8425D}" destId="{DA78B2C3-F7C5-4F1B-9B2B-EB8D77455ADC}" srcOrd="0" destOrd="0" presId="urn:microsoft.com/office/officeart/2005/8/layout/chevron2"/>
    <dgm:cxn modelId="{2E21D057-3F69-4042-A4E9-9A2E6BA192DB}" srcId="{DE3A5E68-EC84-4EC9-B2C6-CBC0EAE05AB9}" destId="{FDB3D90F-9B3E-4CC0-A066-B76FFBA0C604}" srcOrd="0" destOrd="0" parTransId="{55CFF914-74D7-4E9E-8985-DE8D1E6A200D}" sibTransId="{05BF58E6-4D96-42E7-BD65-AAC2AA7D25F3}"/>
    <dgm:cxn modelId="{D6E6517C-8279-4068-8371-A69C95E00373}" type="presOf" srcId="{BE3A957F-438A-4837-88E7-ACED86B41F7B}" destId="{E83E96DE-2429-4E2A-8FB7-08189F01C69B}" srcOrd="0" destOrd="0" presId="urn:microsoft.com/office/officeart/2005/8/layout/chevron2"/>
    <dgm:cxn modelId="{DCA77D7D-3DAB-4582-A582-B1F0D0FF02D5}" srcId="{9F5C12F3-2132-4601-B6A5-EC216DAE2715}" destId="{8FD17C13-30D3-480B-B129-DF008B5FCBD3}" srcOrd="4" destOrd="0" parTransId="{5FB4B464-3788-4529-9E74-79441D25A535}" sibTransId="{3EF6A947-8C0A-4FBA-9761-E69985B17AC7}"/>
    <dgm:cxn modelId="{E5ED3781-4F20-431D-82B8-AB7C09107163}" type="presOf" srcId="{A015B295-9CF7-4C9C-98D2-902A62FF827F}" destId="{B09676FC-5CC0-40E9-A2DF-97AEB4541C45}" srcOrd="0" destOrd="0" presId="urn:microsoft.com/office/officeart/2005/8/layout/chevron2"/>
    <dgm:cxn modelId="{4F625C86-DBBC-45D3-B6F5-1E9E9F245113}" srcId="{9F5C12F3-2132-4601-B6A5-EC216DAE2715}" destId="{DE3A5E68-EC84-4EC9-B2C6-CBC0EAE05AB9}" srcOrd="1" destOrd="0" parTransId="{76445D5C-F571-4583-A1E6-F322C1F33D6A}" sibTransId="{17C7D29C-8C47-42EF-88A8-9B851FD972BB}"/>
    <dgm:cxn modelId="{396E228B-E7B4-42A1-8D57-2B225E30FC21}" srcId="{33CB3D65-C7B5-47DC-ADF7-FCB847C8425D}" destId="{A015B295-9CF7-4C9C-98D2-902A62FF827F}" srcOrd="0" destOrd="0" parTransId="{48393B66-6632-4B97-A564-D701731EF597}" sibTransId="{DC1EC221-60B9-4BC5-8128-8A6BBF1C0C12}"/>
    <dgm:cxn modelId="{D9D85A91-A312-41F2-9E33-DF21D1EFD9E3}" type="presOf" srcId="{537329E2-49AA-429B-A226-989D37DA8117}" destId="{FCDAA07B-2354-4AE4-A68E-45E9DE485E98}" srcOrd="0" destOrd="0" presId="urn:microsoft.com/office/officeart/2005/8/layout/chevron2"/>
    <dgm:cxn modelId="{30607FC3-03FC-4257-9E04-5A78521C2F5E}" type="presOf" srcId="{AAE44097-F72D-4CDA-B0ED-63AFEA5D1B99}" destId="{994586A2-93CE-42C6-8A54-DEA7A9C04D82}" srcOrd="0" destOrd="0" presId="urn:microsoft.com/office/officeart/2005/8/layout/chevron2"/>
    <dgm:cxn modelId="{7DEE78C9-B208-43E4-9FA1-5F8126766F17}" type="presOf" srcId="{8FD17C13-30D3-480B-B129-DF008B5FCBD3}" destId="{F8C75987-530E-4336-8076-67986D51F4BB}" srcOrd="0" destOrd="0" presId="urn:microsoft.com/office/officeart/2005/8/layout/chevron2"/>
    <dgm:cxn modelId="{894D2ACB-3DCE-4B49-A561-112F74051D10}" type="presOf" srcId="{347C274D-5F3B-4D44-BA2E-D356021067C9}" destId="{428D7837-AC8B-48D7-976A-B677FDBB8397}" srcOrd="0" destOrd="0" presId="urn:microsoft.com/office/officeart/2005/8/layout/chevron2"/>
    <dgm:cxn modelId="{552FD0D2-90E6-4F93-8838-C20404AC1B7F}" type="presOf" srcId="{FDB3D90F-9B3E-4CC0-A066-B76FFBA0C604}" destId="{94000391-9BC6-46ED-AD22-6FA2A0A3E297}" srcOrd="0" destOrd="0" presId="urn:microsoft.com/office/officeart/2005/8/layout/chevron2"/>
    <dgm:cxn modelId="{C60C36D9-D343-4370-A545-4097B96E6982}" type="presOf" srcId="{DE3A5E68-EC84-4EC9-B2C6-CBC0EAE05AB9}" destId="{66F641F7-52B4-443F-90BE-F0E0F5E9A354}" srcOrd="0" destOrd="0" presId="urn:microsoft.com/office/officeart/2005/8/layout/chevron2"/>
    <dgm:cxn modelId="{462703DD-A759-4FD3-9FB7-41B8EE08D22B}" type="presOf" srcId="{88A6C9B6-31B1-42AE-8D1B-142DD2773C74}" destId="{82D0A068-8AC8-4654-80DB-8A2D962961DA}" srcOrd="0" destOrd="0" presId="urn:microsoft.com/office/officeart/2005/8/layout/chevron2"/>
    <dgm:cxn modelId="{58B0F5E0-8683-4933-9B88-DE21D33FF19A}" type="presOf" srcId="{B7961C77-4CB7-4E8A-B5B4-AA2ED4DA8C5C}" destId="{91E6DB43-61BD-4FDC-8C0C-D667A2332926}" srcOrd="0" destOrd="0" presId="urn:microsoft.com/office/officeart/2005/8/layout/chevron2"/>
    <dgm:cxn modelId="{826679E7-F193-4386-A85D-60B70F5B0D47}" srcId="{347C274D-5F3B-4D44-BA2E-D356021067C9}" destId="{BE3A957F-438A-4837-88E7-ACED86B41F7B}" srcOrd="0" destOrd="0" parTransId="{2150A1E0-D46A-42D2-87C8-21718D262522}" sibTransId="{6A96E005-F533-44FB-8E09-AFC51138F408}"/>
    <dgm:cxn modelId="{CEF1CEEF-411A-4213-9EB3-3DAB2FE30ABE}" srcId="{DAA45776-7C72-4726-8F08-E292130EC189}" destId="{537329E2-49AA-429B-A226-989D37DA8117}" srcOrd="0" destOrd="0" parTransId="{AD35FA20-B815-4293-A755-657CA9E40256}" sibTransId="{6E78AE74-CA0F-4FD1-B534-EDF1317B7100}"/>
    <dgm:cxn modelId="{B9E752F6-10E9-4ADE-B241-95E8311E68E2}" type="presOf" srcId="{9F5C12F3-2132-4601-B6A5-EC216DAE2715}" destId="{B541F21C-3E42-456C-913A-D6631B57094B}" srcOrd="0" destOrd="0" presId="urn:microsoft.com/office/officeart/2005/8/layout/chevron2"/>
    <dgm:cxn modelId="{2AED64F8-C4D1-4DD9-882C-998578AD82A7}" srcId="{9F5C12F3-2132-4601-B6A5-EC216DAE2715}" destId="{33CB3D65-C7B5-47DC-ADF7-FCB847C8425D}" srcOrd="5" destOrd="0" parTransId="{649836B1-5CB8-4D3A-B1CC-9D2F4F6A900A}" sibTransId="{B176AF9A-2BCD-4E9C-B676-13039DF3F705}"/>
    <dgm:cxn modelId="{7FAA57F9-B02C-49E3-9CAF-358B83E802D7}" srcId="{9F5C12F3-2132-4601-B6A5-EC216DAE2715}" destId="{12F2F5F0-9FDE-4FC8-8E74-F5427B382CA6}" srcOrd="2" destOrd="0" parTransId="{6891FC42-7B3B-489F-9CEC-9744DD947F50}" sibTransId="{1D3F918C-E488-4C4A-AB34-EE11E53B08A4}"/>
    <dgm:cxn modelId="{9C0ED417-2BC5-48D3-BA05-52B815BB4F1C}" type="presParOf" srcId="{B541F21C-3E42-456C-913A-D6631B57094B}" destId="{BBCD0201-B904-4917-B932-F395E76AD8AA}" srcOrd="0" destOrd="0" presId="urn:microsoft.com/office/officeart/2005/8/layout/chevron2"/>
    <dgm:cxn modelId="{37F640B9-0259-451A-9DF3-776ADC212DF7}" type="presParOf" srcId="{BBCD0201-B904-4917-B932-F395E76AD8AA}" destId="{9FFFB802-65C0-4509-AC0E-223CDA9CD68C}" srcOrd="0" destOrd="0" presId="urn:microsoft.com/office/officeart/2005/8/layout/chevron2"/>
    <dgm:cxn modelId="{9C05DAC6-065B-49BF-A3FB-1636C13CF1A5}" type="presParOf" srcId="{BBCD0201-B904-4917-B932-F395E76AD8AA}" destId="{FCDAA07B-2354-4AE4-A68E-45E9DE485E98}" srcOrd="1" destOrd="0" presId="urn:microsoft.com/office/officeart/2005/8/layout/chevron2"/>
    <dgm:cxn modelId="{E29FC4AA-8CD2-43E1-B120-7A9E8E7FE9EE}" type="presParOf" srcId="{B541F21C-3E42-456C-913A-D6631B57094B}" destId="{CE645BF8-DD72-49C5-9E91-3759AC08DDB0}" srcOrd="1" destOrd="0" presId="urn:microsoft.com/office/officeart/2005/8/layout/chevron2"/>
    <dgm:cxn modelId="{B6BF1CA5-FC1F-4673-8D72-F0EC85164629}" type="presParOf" srcId="{B541F21C-3E42-456C-913A-D6631B57094B}" destId="{ED94B92F-3002-4B2F-9126-E96B815FB588}" srcOrd="2" destOrd="0" presId="urn:microsoft.com/office/officeart/2005/8/layout/chevron2"/>
    <dgm:cxn modelId="{761FA1CC-A0A7-41F7-9F4F-DFFF8DD6D182}" type="presParOf" srcId="{ED94B92F-3002-4B2F-9126-E96B815FB588}" destId="{66F641F7-52B4-443F-90BE-F0E0F5E9A354}" srcOrd="0" destOrd="0" presId="urn:microsoft.com/office/officeart/2005/8/layout/chevron2"/>
    <dgm:cxn modelId="{FB9FCE9C-4898-454A-A1C0-A6F61318831D}" type="presParOf" srcId="{ED94B92F-3002-4B2F-9126-E96B815FB588}" destId="{94000391-9BC6-46ED-AD22-6FA2A0A3E297}" srcOrd="1" destOrd="0" presId="urn:microsoft.com/office/officeart/2005/8/layout/chevron2"/>
    <dgm:cxn modelId="{9E20BA2A-32A6-4B4A-8B00-74988D57BCF1}" type="presParOf" srcId="{B541F21C-3E42-456C-913A-D6631B57094B}" destId="{4D48F50E-3AFE-42C5-BDC0-9EF5A388313F}" srcOrd="3" destOrd="0" presId="urn:microsoft.com/office/officeart/2005/8/layout/chevron2"/>
    <dgm:cxn modelId="{4F3227AE-2589-4680-8964-D4A36A95A9E6}" type="presParOf" srcId="{B541F21C-3E42-456C-913A-D6631B57094B}" destId="{1DB2932C-59C5-496F-AF58-2BF4EE37C9D2}" srcOrd="4" destOrd="0" presId="urn:microsoft.com/office/officeart/2005/8/layout/chevron2"/>
    <dgm:cxn modelId="{6AE85FA2-5035-444B-A580-A9093E9E8BD8}" type="presParOf" srcId="{1DB2932C-59C5-496F-AF58-2BF4EE37C9D2}" destId="{24ED90B9-5E25-41EE-B93C-13828CA1576E}" srcOrd="0" destOrd="0" presId="urn:microsoft.com/office/officeart/2005/8/layout/chevron2"/>
    <dgm:cxn modelId="{DA833F3A-976C-44E7-ABB5-0D7931874CD7}" type="presParOf" srcId="{1DB2932C-59C5-496F-AF58-2BF4EE37C9D2}" destId="{912D006F-250A-4F23-9001-633071F566C8}" srcOrd="1" destOrd="0" presId="urn:microsoft.com/office/officeart/2005/8/layout/chevron2"/>
    <dgm:cxn modelId="{57AA0E42-41E9-4A58-AA01-A33B3CE71D3B}" type="presParOf" srcId="{B541F21C-3E42-456C-913A-D6631B57094B}" destId="{F4CCC9AC-6A4A-4462-9AA0-09A7F33E834E}" srcOrd="5" destOrd="0" presId="urn:microsoft.com/office/officeart/2005/8/layout/chevron2"/>
    <dgm:cxn modelId="{9E4BCBEB-7221-4507-9DF2-1FFBB37D58F0}" type="presParOf" srcId="{B541F21C-3E42-456C-913A-D6631B57094B}" destId="{A7BCCFC9-5BE4-4542-B0EF-8888A5B372A1}" srcOrd="6" destOrd="0" presId="urn:microsoft.com/office/officeart/2005/8/layout/chevron2"/>
    <dgm:cxn modelId="{CFC87A39-5242-441F-80F6-7DF4FD43F259}" type="presParOf" srcId="{A7BCCFC9-5BE4-4542-B0EF-8888A5B372A1}" destId="{428D7837-AC8B-48D7-976A-B677FDBB8397}" srcOrd="0" destOrd="0" presId="urn:microsoft.com/office/officeart/2005/8/layout/chevron2"/>
    <dgm:cxn modelId="{2B7F6986-7EE8-40BC-982A-681DD3B643DA}" type="presParOf" srcId="{A7BCCFC9-5BE4-4542-B0EF-8888A5B372A1}" destId="{E83E96DE-2429-4E2A-8FB7-08189F01C69B}" srcOrd="1" destOrd="0" presId="urn:microsoft.com/office/officeart/2005/8/layout/chevron2"/>
    <dgm:cxn modelId="{94BA0F8B-BADA-4B61-B69A-4134B6B061C0}" type="presParOf" srcId="{B541F21C-3E42-456C-913A-D6631B57094B}" destId="{7CE7EF05-E1A7-4599-9D8B-143A5B0940FD}" srcOrd="7" destOrd="0" presId="urn:microsoft.com/office/officeart/2005/8/layout/chevron2"/>
    <dgm:cxn modelId="{E5EE7BF6-E7A1-4E04-A32B-9B27F053771F}" type="presParOf" srcId="{B541F21C-3E42-456C-913A-D6631B57094B}" destId="{AB43EB3B-9161-4386-B29B-AEB1AB9C5F03}" srcOrd="8" destOrd="0" presId="urn:microsoft.com/office/officeart/2005/8/layout/chevron2"/>
    <dgm:cxn modelId="{A79B7DAA-7836-4E78-8351-9F091629ECF0}" type="presParOf" srcId="{AB43EB3B-9161-4386-B29B-AEB1AB9C5F03}" destId="{F8C75987-530E-4336-8076-67986D51F4BB}" srcOrd="0" destOrd="0" presId="urn:microsoft.com/office/officeart/2005/8/layout/chevron2"/>
    <dgm:cxn modelId="{EE56743B-1D8F-48CF-A9B8-29A334114C1B}" type="presParOf" srcId="{AB43EB3B-9161-4386-B29B-AEB1AB9C5F03}" destId="{91E6DB43-61BD-4FDC-8C0C-D667A2332926}" srcOrd="1" destOrd="0" presId="urn:microsoft.com/office/officeart/2005/8/layout/chevron2"/>
    <dgm:cxn modelId="{C71C7ADC-4D1B-437B-BFDF-212499EEB39B}" type="presParOf" srcId="{B541F21C-3E42-456C-913A-D6631B57094B}" destId="{6F41E776-6527-40F3-B8AB-89D4A95C3AF9}" srcOrd="9" destOrd="0" presId="urn:microsoft.com/office/officeart/2005/8/layout/chevron2"/>
    <dgm:cxn modelId="{54A4BF31-9E3F-4D5E-8D19-0719C484452F}" type="presParOf" srcId="{B541F21C-3E42-456C-913A-D6631B57094B}" destId="{71469263-43A8-4316-9057-615E272234FE}" srcOrd="10" destOrd="0" presId="urn:microsoft.com/office/officeart/2005/8/layout/chevron2"/>
    <dgm:cxn modelId="{D4D4E4A0-7981-432B-8DC9-2DF1E42C6F20}" type="presParOf" srcId="{71469263-43A8-4316-9057-615E272234FE}" destId="{DA78B2C3-F7C5-4F1B-9B2B-EB8D77455ADC}" srcOrd="0" destOrd="0" presId="urn:microsoft.com/office/officeart/2005/8/layout/chevron2"/>
    <dgm:cxn modelId="{B5DED2AD-8328-4C7E-9E19-0FE2B69745D7}" type="presParOf" srcId="{71469263-43A8-4316-9057-615E272234FE}" destId="{B09676FC-5CC0-40E9-A2DF-97AEB4541C45}" srcOrd="1" destOrd="0" presId="urn:microsoft.com/office/officeart/2005/8/layout/chevron2"/>
    <dgm:cxn modelId="{F2B3A11A-8BDB-4C4D-8CDF-E24DD90761A2}" type="presParOf" srcId="{B541F21C-3E42-456C-913A-D6631B57094B}" destId="{1F420F37-4AE3-4169-AF1F-B1B0AC174B82}" srcOrd="11" destOrd="0" presId="urn:microsoft.com/office/officeart/2005/8/layout/chevron2"/>
    <dgm:cxn modelId="{DDB133FE-C065-4BBE-820A-5114EA685475}" type="presParOf" srcId="{B541F21C-3E42-456C-913A-D6631B57094B}" destId="{6337AEBB-F192-4CD7-B64E-34D2F42F61B3}" srcOrd="12" destOrd="0" presId="urn:microsoft.com/office/officeart/2005/8/layout/chevron2"/>
    <dgm:cxn modelId="{75328A97-0899-4AE7-AF17-BD94D18D4876}" type="presParOf" srcId="{6337AEBB-F192-4CD7-B64E-34D2F42F61B3}" destId="{994586A2-93CE-42C6-8A54-DEA7A9C04D82}" srcOrd="0" destOrd="0" presId="urn:microsoft.com/office/officeart/2005/8/layout/chevron2"/>
    <dgm:cxn modelId="{9C4477CE-AC16-440C-8CE6-8B2FC82BF150}" type="presParOf" srcId="{6337AEBB-F192-4CD7-B64E-34D2F42F61B3}" destId="{82D0A068-8AC8-4654-80DB-8A2D962961DA}"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9E9894-DA6E-43B7-AF81-D32E2111E777}">
      <dsp:nvSpPr>
        <dsp:cNvPr id="0" name=""/>
        <dsp:cNvSpPr/>
      </dsp:nvSpPr>
      <dsp:spPr>
        <a:xfrm>
          <a:off x="0" y="273544"/>
          <a:ext cx="4860914" cy="428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D1798D6-4AB1-4797-AF32-188A20BB3794}">
      <dsp:nvSpPr>
        <dsp:cNvPr id="0" name=""/>
        <dsp:cNvSpPr/>
      </dsp:nvSpPr>
      <dsp:spPr>
        <a:xfrm>
          <a:off x="240909" y="22624"/>
          <a:ext cx="4617474" cy="50184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8612" tIns="0" rIns="128612" bIns="0" numCol="1" spcCol="1270" anchor="ctr" anchorCtr="0">
          <a:noAutofit/>
        </a:bodyPr>
        <a:lstStyle/>
        <a:p>
          <a:pPr marL="0" lvl="0" indent="0" algn="l" defTabSz="533400">
            <a:lnSpc>
              <a:spcPct val="90000"/>
            </a:lnSpc>
            <a:spcBef>
              <a:spcPct val="0"/>
            </a:spcBef>
            <a:spcAft>
              <a:spcPct val="35000"/>
            </a:spcAft>
            <a:buNone/>
          </a:pPr>
          <a:r>
            <a:rPr lang="it-IT" sz="1200" b="1" kern="1200" dirty="0"/>
            <a:t>01. Genesi del progetto</a:t>
          </a:r>
        </a:p>
      </dsp:txBody>
      <dsp:txXfrm>
        <a:off x="265407" y="47122"/>
        <a:ext cx="4568478" cy="452844"/>
      </dsp:txXfrm>
    </dsp:sp>
    <dsp:sp modelId="{D59A7228-AAEE-44A0-B2B6-1E93EBF895FE}">
      <dsp:nvSpPr>
        <dsp:cNvPr id="0" name=""/>
        <dsp:cNvSpPr/>
      </dsp:nvSpPr>
      <dsp:spPr>
        <a:xfrm>
          <a:off x="0" y="1042037"/>
          <a:ext cx="4860914" cy="428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0495439-F5A5-483A-9F51-640AF9F982B7}">
      <dsp:nvSpPr>
        <dsp:cNvPr id="0" name=""/>
        <dsp:cNvSpPr/>
      </dsp:nvSpPr>
      <dsp:spPr>
        <a:xfrm>
          <a:off x="231415" y="793744"/>
          <a:ext cx="4628307" cy="50184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8612" tIns="0" rIns="128612" bIns="0" numCol="1" spcCol="1270" anchor="ctr" anchorCtr="0">
          <a:noAutofit/>
        </a:bodyPr>
        <a:lstStyle/>
        <a:p>
          <a:pPr marL="0" lvl="0" indent="0" algn="l" defTabSz="533400">
            <a:lnSpc>
              <a:spcPct val="90000"/>
            </a:lnSpc>
            <a:spcBef>
              <a:spcPct val="0"/>
            </a:spcBef>
            <a:spcAft>
              <a:spcPct val="35000"/>
            </a:spcAft>
            <a:buNone/>
          </a:pPr>
          <a:r>
            <a:rPr lang="it-IT" sz="1200" b="1" kern="1200" dirty="0"/>
            <a:t>02. Iter autorizzativo e cronoprogramma attività</a:t>
          </a:r>
        </a:p>
      </dsp:txBody>
      <dsp:txXfrm>
        <a:off x="255913" y="818242"/>
        <a:ext cx="4579311" cy="452844"/>
      </dsp:txXfrm>
    </dsp:sp>
    <dsp:sp modelId="{AA7305E8-F7ED-4379-A322-7EA197B4ED22}">
      <dsp:nvSpPr>
        <dsp:cNvPr id="0" name=""/>
        <dsp:cNvSpPr/>
      </dsp:nvSpPr>
      <dsp:spPr>
        <a:xfrm>
          <a:off x="0" y="1815784"/>
          <a:ext cx="4860914" cy="428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C121153-6972-4FCB-84CC-1B94B589C10E}">
      <dsp:nvSpPr>
        <dsp:cNvPr id="0" name=""/>
        <dsp:cNvSpPr/>
      </dsp:nvSpPr>
      <dsp:spPr>
        <a:xfrm>
          <a:off x="231415" y="1564864"/>
          <a:ext cx="4628307" cy="50184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8612" tIns="0" rIns="128612" bIns="0" numCol="1" spcCol="1270" anchor="ctr" anchorCtr="0">
          <a:noAutofit/>
        </a:bodyPr>
        <a:lstStyle/>
        <a:p>
          <a:pPr marL="0" lvl="0" indent="0" algn="l" defTabSz="533400">
            <a:lnSpc>
              <a:spcPct val="90000"/>
            </a:lnSpc>
            <a:spcBef>
              <a:spcPct val="0"/>
            </a:spcBef>
            <a:spcAft>
              <a:spcPct val="35000"/>
            </a:spcAft>
            <a:buNone/>
          </a:pPr>
          <a:r>
            <a:rPr lang="it-IT" sz="1200" b="1" kern="1200" dirty="0"/>
            <a:t>03. </a:t>
          </a:r>
          <a:r>
            <a:rPr lang="it-IT" sz="1200" b="1" kern="1200" dirty="0" err="1"/>
            <a:t>Overview</a:t>
          </a:r>
          <a:r>
            <a:rPr lang="it-IT" sz="1200" b="1" kern="1200" dirty="0"/>
            <a:t> progetto</a:t>
          </a:r>
        </a:p>
      </dsp:txBody>
      <dsp:txXfrm>
        <a:off x="255913" y="1589362"/>
        <a:ext cx="4579311" cy="452844"/>
      </dsp:txXfrm>
    </dsp:sp>
    <dsp:sp modelId="{1E52B2E7-5C91-42A9-A945-D5678735BA66}">
      <dsp:nvSpPr>
        <dsp:cNvPr id="0" name=""/>
        <dsp:cNvSpPr/>
      </dsp:nvSpPr>
      <dsp:spPr>
        <a:xfrm>
          <a:off x="0" y="2586904"/>
          <a:ext cx="4860914" cy="428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6689A6D-BAF8-4A96-8C02-C7921AAA1B43}">
      <dsp:nvSpPr>
        <dsp:cNvPr id="0" name=""/>
        <dsp:cNvSpPr/>
      </dsp:nvSpPr>
      <dsp:spPr>
        <a:xfrm>
          <a:off x="231415" y="2335984"/>
          <a:ext cx="4628307" cy="50184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8612" tIns="0" rIns="128612" bIns="0" numCol="1" spcCol="1270" anchor="ctr" anchorCtr="0">
          <a:noAutofit/>
        </a:bodyPr>
        <a:lstStyle/>
        <a:p>
          <a:pPr marL="0" lvl="0" indent="0" algn="l" defTabSz="533400">
            <a:lnSpc>
              <a:spcPct val="90000"/>
            </a:lnSpc>
            <a:spcBef>
              <a:spcPct val="0"/>
            </a:spcBef>
            <a:spcAft>
              <a:spcPct val="35000"/>
            </a:spcAft>
            <a:buNone/>
          </a:pPr>
          <a:r>
            <a:rPr lang="it-IT" sz="1200" b="1" kern="1200" dirty="0"/>
            <a:t>04. I Numeri del progetto</a:t>
          </a:r>
        </a:p>
      </dsp:txBody>
      <dsp:txXfrm>
        <a:off x="255913" y="2360482"/>
        <a:ext cx="4579311" cy="452844"/>
      </dsp:txXfrm>
    </dsp:sp>
    <dsp:sp modelId="{456CF12E-A2A5-463E-9067-F59FE8AA896F}">
      <dsp:nvSpPr>
        <dsp:cNvPr id="0" name=""/>
        <dsp:cNvSpPr/>
      </dsp:nvSpPr>
      <dsp:spPr>
        <a:xfrm>
          <a:off x="0" y="3358024"/>
          <a:ext cx="4860914" cy="428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7AEE14C-27D9-401D-88D9-4501A777E357}">
      <dsp:nvSpPr>
        <dsp:cNvPr id="0" name=""/>
        <dsp:cNvSpPr/>
      </dsp:nvSpPr>
      <dsp:spPr>
        <a:xfrm>
          <a:off x="231415" y="3107104"/>
          <a:ext cx="4628307" cy="50184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8612" tIns="0" rIns="128612" bIns="0" numCol="1" spcCol="1270" anchor="ctr" anchorCtr="0">
          <a:noAutofit/>
        </a:bodyPr>
        <a:lstStyle/>
        <a:p>
          <a:pPr marL="0" lvl="0" indent="0" algn="l" defTabSz="533400">
            <a:lnSpc>
              <a:spcPct val="90000"/>
            </a:lnSpc>
            <a:spcBef>
              <a:spcPct val="0"/>
            </a:spcBef>
            <a:spcAft>
              <a:spcPct val="35000"/>
            </a:spcAft>
            <a:buNone/>
          </a:pPr>
          <a:r>
            <a:rPr lang="it-IT" sz="1200" b="1" kern="1200" dirty="0"/>
            <a:t>05. Descrizione dell’intervento</a:t>
          </a:r>
        </a:p>
      </dsp:txBody>
      <dsp:txXfrm>
        <a:off x="255913" y="3131602"/>
        <a:ext cx="4579311" cy="452844"/>
      </dsp:txXfrm>
    </dsp:sp>
    <dsp:sp modelId="{EB353060-EB7D-4984-8DB5-54B4FB55425F}">
      <dsp:nvSpPr>
        <dsp:cNvPr id="0" name=""/>
        <dsp:cNvSpPr/>
      </dsp:nvSpPr>
      <dsp:spPr>
        <a:xfrm>
          <a:off x="0" y="4129144"/>
          <a:ext cx="4860914" cy="428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10BEDA5-E359-4037-B3AC-7DF8336582DB}">
      <dsp:nvSpPr>
        <dsp:cNvPr id="0" name=""/>
        <dsp:cNvSpPr/>
      </dsp:nvSpPr>
      <dsp:spPr>
        <a:xfrm>
          <a:off x="231415" y="3878224"/>
          <a:ext cx="4628307" cy="50184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8612" tIns="0" rIns="128612" bIns="0" numCol="1" spcCol="1270" anchor="ctr" anchorCtr="0">
          <a:noAutofit/>
        </a:bodyPr>
        <a:lstStyle/>
        <a:p>
          <a:pPr marL="0" lvl="0" indent="0" algn="l" defTabSz="533400">
            <a:lnSpc>
              <a:spcPct val="90000"/>
            </a:lnSpc>
            <a:spcBef>
              <a:spcPct val="0"/>
            </a:spcBef>
            <a:spcAft>
              <a:spcPct val="35000"/>
            </a:spcAft>
            <a:buNone/>
          </a:pPr>
          <a:r>
            <a:rPr lang="it-IT" sz="1200" b="1" kern="1200" dirty="0"/>
            <a:t>06. Cronoprogramma lavori</a:t>
          </a:r>
        </a:p>
      </dsp:txBody>
      <dsp:txXfrm>
        <a:off x="255913" y="3902722"/>
        <a:ext cx="4579311" cy="4528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FFB802-65C0-4509-AC0E-223CDA9CD68C}">
      <dsp:nvSpPr>
        <dsp:cNvPr id="0" name=""/>
        <dsp:cNvSpPr/>
      </dsp:nvSpPr>
      <dsp:spPr>
        <a:xfrm rot="5400000">
          <a:off x="-103604" y="103029"/>
          <a:ext cx="763436" cy="5650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it-IT" sz="800" kern="1200" dirty="0"/>
            <a:t>13.04.2011</a:t>
          </a:r>
        </a:p>
      </dsp:txBody>
      <dsp:txXfrm rot="-5400000">
        <a:off x="-4426" y="286391"/>
        <a:ext cx="565080" cy="198356"/>
      </dsp:txXfrm>
    </dsp:sp>
    <dsp:sp modelId="{FCDAA07B-2354-4AE4-A68E-45E9DE485E98}">
      <dsp:nvSpPr>
        <dsp:cNvPr id="0" name=""/>
        <dsp:cNvSpPr/>
      </dsp:nvSpPr>
      <dsp:spPr>
        <a:xfrm rot="5400000">
          <a:off x="5148862" y="-4586088"/>
          <a:ext cx="496233" cy="967528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45720" rIns="126000" bIns="45720" numCol="1" spcCol="1270" rtlCol="0" anchor="ctr" anchorCtr="0">
          <a:noAutofit/>
        </a:bodyPr>
        <a:lstStyle/>
        <a:p>
          <a:pPr marL="114300" lvl="1" indent="-114300" algn="just" defTabSz="533400">
            <a:lnSpc>
              <a:spcPct val="90000"/>
            </a:lnSpc>
            <a:spcBef>
              <a:spcPct val="0"/>
            </a:spcBef>
            <a:spcAft>
              <a:spcPct val="15000"/>
            </a:spcAft>
            <a:buFont typeface="Arial" panose="020B0604020202020204" pitchFamily="34" charset="0"/>
            <a:buNone/>
          </a:pPr>
          <a:r>
            <a:rPr lang="it-IT" sz="1200" kern="1200" dirty="0">
              <a:solidFill>
                <a:srgbClr val="000000"/>
              </a:solidFill>
            </a:rPr>
            <a:t>   </a:t>
          </a:r>
          <a:r>
            <a:rPr lang="it-IT" sz="1200" b="1" kern="1200" dirty="0">
              <a:solidFill>
                <a:srgbClr val="000000"/>
              </a:solidFill>
            </a:rPr>
            <a:t>ASPI</a:t>
          </a:r>
          <a:r>
            <a:rPr lang="it-IT" sz="1200" kern="1200" dirty="0">
              <a:solidFill>
                <a:srgbClr val="000000"/>
              </a:solidFill>
            </a:rPr>
            <a:t> ha stipulato un Protocollo di Intesa con il Ministero delle Infrastrutture, la Regione Liguria ed il Concedente, nel quale </a:t>
          </a:r>
          <a:r>
            <a:rPr lang="it-IT" sz="1200" b="1" kern="1200" dirty="0">
              <a:solidFill>
                <a:srgbClr val="000000"/>
              </a:solidFill>
            </a:rPr>
            <a:t>si impegnava a redigere la progettazione preliminare </a:t>
          </a:r>
          <a:r>
            <a:rPr lang="it-IT" sz="1200" kern="1200" dirty="0">
              <a:solidFill>
                <a:srgbClr val="000000"/>
              </a:solidFill>
            </a:rPr>
            <a:t>dell’intervento con un contributo da parte della Regione Liguria.</a:t>
          </a:r>
          <a:endParaRPr lang="it-IT" sz="1200" kern="1200" dirty="0"/>
        </a:p>
      </dsp:txBody>
      <dsp:txXfrm rot="-5400000">
        <a:off x="559335" y="27663"/>
        <a:ext cx="9651064" cy="447785"/>
      </dsp:txXfrm>
    </dsp:sp>
    <dsp:sp modelId="{66F641F7-52B4-443F-90BE-F0E0F5E9A354}">
      <dsp:nvSpPr>
        <dsp:cNvPr id="0" name=""/>
        <dsp:cNvSpPr/>
      </dsp:nvSpPr>
      <dsp:spPr>
        <a:xfrm rot="5400000">
          <a:off x="-110089" y="760858"/>
          <a:ext cx="763436" cy="55211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it-IT" sz="800" kern="1200" dirty="0"/>
            <a:t>06.03.2012</a:t>
          </a:r>
        </a:p>
      </dsp:txBody>
      <dsp:txXfrm rot="-5400000">
        <a:off x="-4426" y="931250"/>
        <a:ext cx="552110" cy="211326"/>
      </dsp:txXfrm>
    </dsp:sp>
    <dsp:sp modelId="{94000391-9BC6-46ED-AD22-6FA2A0A3E297}">
      <dsp:nvSpPr>
        <dsp:cNvPr id="0" name=""/>
        <dsp:cNvSpPr/>
      </dsp:nvSpPr>
      <dsp:spPr>
        <a:xfrm rot="5400000">
          <a:off x="5140824" y="-3946796"/>
          <a:ext cx="496233" cy="970021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7620" rIns="126000" bIns="7620" numCol="1" spcCol="1270" anchor="ctr" anchorCtr="0">
          <a:noAutofit/>
        </a:bodyPr>
        <a:lstStyle/>
        <a:p>
          <a:pPr marL="114300" lvl="1" indent="-114300" algn="l" defTabSz="533400">
            <a:lnSpc>
              <a:spcPct val="90000"/>
            </a:lnSpc>
            <a:spcBef>
              <a:spcPct val="0"/>
            </a:spcBef>
            <a:spcAft>
              <a:spcPct val="15000"/>
            </a:spcAft>
            <a:buFont typeface="Arial" panose="020B0604020202020204" pitchFamily="34" charset="0"/>
            <a:buNone/>
          </a:pPr>
          <a:r>
            <a:rPr lang="it-IT" sz="1200" kern="1200" dirty="0">
              <a:solidFill>
                <a:srgbClr val="000000"/>
              </a:solidFill>
            </a:rPr>
            <a:t>   </a:t>
          </a:r>
          <a:r>
            <a:rPr lang="it-IT" sz="1200" b="1" kern="1200" dirty="0">
              <a:solidFill>
                <a:srgbClr val="000000"/>
              </a:solidFill>
            </a:rPr>
            <a:t>ASPI ha consegnato il Progetto Preliminare </a:t>
          </a:r>
          <a:r>
            <a:rPr lang="it-IT" sz="1200" kern="1200" dirty="0">
              <a:solidFill>
                <a:srgbClr val="000000"/>
              </a:solidFill>
            </a:rPr>
            <a:t>alla Regione Liguria.</a:t>
          </a:r>
          <a:endParaRPr lang="it-IT" sz="1200" kern="1200" dirty="0"/>
        </a:p>
      </dsp:txBody>
      <dsp:txXfrm rot="-5400000">
        <a:off x="538832" y="679420"/>
        <a:ext cx="9675994" cy="447785"/>
      </dsp:txXfrm>
    </dsp:sp>
    <dsp:sp modelId="{24ED90B9-5E25-41EE-B93C-13828CA1576E}">
      <dsp:nvSpPr>
        <dsp:cNvPr id="0" name=""/>
        <dsp:cNvSpPr/>
      </dsp:nvSpPr>
      <dsp:spPr>
        <a:xfrm rot="5400000">
          <a:off x="-110089" y="1412203"/>
          <a:ext cx="763436" cy="55211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it-IT" sz="800" kern="1200" dirty="0"/>
            <a:t>24.12.2013</a:t>
          </a:r>
        </a:p>
      </dsp:txBody>
      <dsp:txXfrm rot="-5400000">
        <a:off x="-4426" y="1582595"/>
        <a:ext cx="552110" cy="211326"/>
      </dsp:txXfrm>
    </dsp:sp>
    <dsp:sp modelId="{912D006F-250A-4F23-9001-633071F566C8}">
      <dsp:nvSpPr>
        <dsp:cNvPr id="0" name=""/>
        <dsp:cNvSpPr/>
      </dsp:nvSpPr>
      <dsp:spPr>
        <a:xfrm rot="5400000">
          <a:off x="5140824" y="-3295451"/>
          <a:ext cx="496233" cy="970021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7620" rIns="126000" bIns="7620" numCol="1" spcCol="1270" anchor="ctr" anchorCtr="0">
          <a:noAutofit/>
        </a:bodyPr>
        <a:lstStyle/>
        <a:p>
          <a:pPr marL="114300" lvl="1" indent="-114300" algn="just" defTabSz="533400">
            <a:lnSpc>
              <a:spcPct val="90000"/>
            </a:lnSpc>
            <a:spcBef>
              <a:spcPct val="0"/>
            </a:spcBef>
            <a:spcAft>
              <a:spcPct val="15000"/>
            </a:spcAft>
            <a:buFont typeface="Arial" panose="020B0604020202020204" pitchFamily="34" charset="0"/>
            <a:buNone/>
          </a:pPr>
          <a:r>
            <a:rPr lang="it-IT" sz="1200" kern="1200" dirty="0">
              <a:solidFill>
                <a:srgbClr val="000000"/>
              </a:solidFill>
            </a:rPr>
            <a:t>   È avvenuta </a:t>
          </a:r>
          <a:r>
            <a:rPr lang="it-IT" sz="1200" b="1" kern="1200" dirty="0">
              <a:solidFill>
                <a:srgbClr val="000000"/>
              </a:solidFill>
            </a:rPr>
            <a:t>la sottoscrizione dell’Atto Aggiuntivo alla Convenzione Unica tra ASPI e MIT </a:t>
          </a:r>
          <a:r>
            <a:rPr lang="it-IT" sz="1200" kern="1200" dirty="0">
              <a:solidFill>
                <a:srgbClr val="000000"/>
              </a:solidFill>
            </a:rPr>
            <a:t>che ha previsto </a:t>
          </a:r>
          <a:r>
            <a:rPr lang="it-IT" sz="1200" b="1" kern="1200" dirty="0">
              <a:solidFill>
                <a:srgbClr val="000000"/>
              </a:solidFill>
            </a:rPr>
            <a:t>l’inserimento nel Piano Economico Finanziario </a:t>
          </a:r>
          <a:r>
            <a:rPr lang="it-IT" sz="1200" kern="1200" dirty="0">
              <a:solidFill>
                <a:srgbClr val="000000"/>
              </a:solidFill>
            </a:rPr>
            <a:t>ad esso allegato </a:t>
          </a:r>
          <a:r>
            <a:rPr lang="it-IT" sz="1200" b="1" kern="1200" dirty="0">
              <a:solidFill>
                <a:srgbClr val="000000"/>
              </a:solidFill>
            </a:rPr>
            <a:t>degli oneri per la redazione del Progetto Definitivo e dello Studio di Impatto Ambientale</a:t>
          </a:r>
          <a:r>
            <a:rPr lang="it-IT" sz="1200" kern="1200" dirty="0">
              <a:solidFill>
                <a:srgbClr val="000000"/>
              </a:solidFill>
            </a:rPr>
            <a:t>.</a:t>
          </a:r>
          <a:endParaRPr lang="it-IT" sz="1200" kern="1200" dirty="0"/>
        </a:p>
      </dsp:txBody>
      <dsp:txXfrm rot="-5400000">
        <a:off x="538832" y="1330765"/>
        <a:ext cx="9675994" cy="447785"/>
      </dsp:txXfrm>
    </dsp:sp>
    <dsp:sp modelId="{428D7837-AC8B-48D7-976A-B677FDBB8397}">
      <dsp:nvSpPr>
        <dsp:cNvPr id="0" name=""/>
        <dsp:cNvSpPr/>
      </dsp:nvSpPr>
      <dsp:spPr>
        <a:xfrm rot="5400000">
          <a:off x="-110089" y="2063548"/>
          <a:ext cx="763436" cy="55211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just" defTabSz="355600">
            <a:lnSpc>
              <a:spcPct val="90000"/>
            </a:lnSpc>
            <a:spcBef>
              <a:spcPct val="0"/>
            </a:spcBef>
            <a:spcAft>
              <a:spcPct val="35000"/>
            </a:spcAft>
            <a:buNone/>
          </a:pPr>
          <a:r>
            <a:rPr lang="it-IT" sz="800" kern="1200" dirty="0"/>
            <a:t>25.03.2015</a:t>
          </a:r>
        </a:p>
      </dsp:txBody>
      <dsp:txXfrm rot="-5400000">
        <a:off x="-4426" y="2233940"/>
        <a:ext cx="552110" cy="211326"/>
      </dsp:txXfrm>
    </dsp:sp>
    <dsp:sp modelId="{E83E96DE-2429-4E2A-8FB7-08189F01C69B}">
      <dsp:nvSpPr>
        <dsp:cNvPr id="0" name=""/>
        <dsp:cNvSpPr/>
      </dsp:nvSpPr>
      <dsp:spPr>
        <a:xfrm rot="5400000">
          <a:off x="5140824" y="-2644106"/>
          <a:ext cx="496233" cy="970021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7620" rIns="126000" bIns="7620" numCol="1" spcCol="1270" anchor="ctr" anchorCtr="0">
          <a:noAutofit/>
        </a:bodyPr>
        <a:lstStyle/>
        <a:p>
          <a:pPr marL="114300" lvl="1" indent="-114300" algn="l" defTabSz="533400">
            <a:lnSpc>
              <a:spcPct val="90000"/>
            </a:lnSpc>
            <a:spcBef>
              <a:spcPct val="0"/>
            </a:spcBef>
            <a:spcAft>
              <a:spcPct val="15000"/>
            </a:spcAft>
            <a:buFont typeface="Arial" panose="020B0604020202020204" pitchFamily="34" charset="0"/>
            <a:buNone/>
          </a:pPr>
          <a:r>
            <a:rPr lang="it-IT" sz="1200" kern="1200" dirty="0">
              <a:solidFill>
                <a:srgbClr val="000000"/>
              </a:solidFill>
            </a:rPr>
            <a:t>   </a:t>
          </a:r>
          <a:r>
            <a:rPr lang="it-IT" sz="1200" b="1" kern="1200" dirty="0">
              <a:solidFill>
                <a:srgbClr val="000000"/>
              </a:solidFill>
            </a:rPr>
            <a:t>ASPI ha consegnato il Progetto Definitivo e lo Studio di Impatto Ambientale </a:t>
          </a:r>
          <a:r>
            <a:rPr lang="it-IT" sz="1200" kern="1200" dirty="0">
              <a:solidFill>
                <a:srgbClr val="000000"/>
              </a:solidFill>
            </a:rPr>
            <a:t>al MIT.</a:t>
          </a:r>
          <a:endParaRPr lang="it-IT" sz="1200" kern="1200" dirty="0"/>
        </a:p>
      </dsp:txBody>
      <dsp:txXfrm rot="-5400000">
        <a:off x="538832" y="1982110"/>
        <a:ext cx="9675994" cy="447785"/>
      </dsp:txXfrm>
    </dsp:sp>
    <dsp:sp modelId="{F8C75987-530E-4336-8076-67986D51F4BB}">
      <dsp:nvSpPr>
        <dsp:cNvPr id="0" name=""/>
        <dsp:cNvSpPr/>
      </dsp:nvSpPr>
      <dsp:spPr>
        <a:xfrm rot="5400000">
          <a:off x="-110089" y="2714893"/>
          <a:ext cx="763436" cy="55211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it-IT" sz="800" kern="1200" dirty="0"/>
            <a:t>14.10.2021</a:t>
          </a:r>
        </a:p>
      </dsp:txBody>
      <dsp:txXfrm rot="-5400000">
        <a:off x="-4426" y="2885285"/>
        <a:ext cx="552110" cy="211326"/>
      </dsp:txXfrm>
    </dsp:sp>
    <dsp:sp modelId="{91E6DB43-61BD-4FDC-8C0C-D667A2332926}">
      <dsp:nvSpPr>
        <dsp:cNvPr id="0" name=""/>
        <dsp:cNvSpPr/>
      </dsp:nvSpPr>
      <dsp:spPr>
        <a:xfrm rot="5400000">
          <a:off x="5140824" y="-1992702"/>
          <a:ext cx="496233" cy="970021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7620" rIns="126000" bIns="7620" numCol="1" spcCol="1270" anchor="ctr" anchorCtr="0">
          <a:noAutofit/>
        </a:bodyPr>
        <a:lstStyle/>
        <a:p>
          <a:pPr marL="114300" lvl="1" indent="-114300" algn="just" defTabSz="533400">
            <a:lnSpc>
              <a:spcPct val="90000"/>
            </a:lnSpc>
            <a:spcBef>
              <a:spcPct val="0"/>
            </a:spcBef>
            <a:spcAft>
              <a:spcPct val="15000"/>
            </a:spcAft>
            <a:buFont typeface="Arial" panose="020B0604020202020204" pitchFamily="34" charset="0"/>
            <a:buNone/>
          </a:pPr>
          <a:r>
            <a:rPr lang="it-IT" sz="1200" kern="1200" dirty="0">
              <a:solidFill>
                <a:srgbClr val="000000"/>
              </a:solidFill>
            </a:rPr>
            <a:t>   </a:t>
          </a:r>
          <a:r>
            <a:rPr lang="it-IT" sz="1200" b="1" kern="1200" dirty="0">
              <a:solidFill>
                <a:srgbClr val="000000"/>
              </a:solidFill>
            </a:rPr>
            <a:t>ASPI</a:t>
          </a:r>
          <a:r>
            <a:rPr lang="it-IT" sz="1200" kern="1200" dirty="0">
              <a:solidFill>
                <a:srgbClr val="000000"/>
              </a:solidFill>
            </a:rPr>
            <a:t> ha stipulato un accordo di intesa con le Autorità liguri, nel quale </a:t>
          </a:r>
          <a:r>
            <a:rPr lang="it-IT" sz="1200" b="1" kern="1200" dirty="0">
              <a:solidFill>
                <a:srgbClr val="000000"/>
              </a:solidFill>
            </a:rPr>
            <a:t>si impegnava a realizzare a suo carico il collegamento autostradale tra Val Fontanabuona e l’A12.</a:t>
          </a:r>
        </a:p>
      </dsp:txBody>
      <dsp:txXfrm rot="-5400000">
        <a:off x="538832" y="2633514"/>
        <a:ext cx="9675994" cy="447785"/>
      </dsp:txXfrm>
    </dsp:sp>
    <dsp:sp modelId="{DA78B2C3-F7C5-4F1B-9B2B-EB8D77455ADC}">
      <dsp:nvSpPr>
        <dsp:cNvPr id="0" name=""/>
        <dsp:cNvSpPr/>
      </dsp:nvSpPr>
      <dsp:spPr>
        <a:xfrm rot="5400000">
          <a:off x="-118941" y="3393833"/>
          <a:ext cx="763436" cy="534405"/>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it-IT" sz="800" kern="1200" dirty="0"/>
            <a:t>03.03.2022</a:t>
          </a:r>
        </a:p>
      </dsp:txBody>
      <dsp:txXfrm rot="-5400000">
        <a:off x="-4425" y="3546521"/>
        <a:ext cx="534405" cy="229031"/>
      </dsp:txXfrm>
    </dsp:sp>
    <dsp:sp modelId="{B09676FC-5CC0-40E9-A2DF-97AEB4541C45}">
      <dsp:nvSpPr>
        <dsp:cNvPr id="0" name=""/>
        <dsp:cNvSpPr/>
      </dsp:nvSpPr>
      <dsp:spPr>
        <a:xfrm rot="5400000">
          <a:off x="5131971" y="-1322669"/>
          <a:ext cx="496233" cy="970021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None/>
          </a:pPr>
          <a:r>
            <a:rPr lang="it-IT" sz="1200" b="1" kern="1200" dirty="0">
              <a:solidFill>
                <a:srgbClr val="000000"/>
              </a:solidFill>
            </a:rPr>
            <a:t>   ASPI ha inviato nuovamente </a:t>
          </a:r>
          <a:r>
            <a:rPr lang="it-IT" sz="1200" b="0" kern="1200" dirty="0">
              <a:solidFill>
                <a:srgbClr val="000000"/>
              </a:solidFill>
            </a:rPr>
            <a:t>al MIMS </a:t>
          </a:r>
          <a:r>
            <a:rPr lang="it-IT" sz="1200" b="1" kern="1200" dirty="0">
              <a:solidFill>
                <a:srgbClr val="000000"/>
              </a:solidFill>
            </a:rPr>
            <a:t>la documentazione progettuale </a:t>
          </a:r>
          <a:r>
            <a:rPr lang="it-IT" sz="1200" b="0" kern="1200" dirty="0">
              <a:solidFill>
                <a:srgbClr val="000000"/>
              </a:solidFill>
            </a:rPr>
            <a:t>(Progetto Definitivo comprensivo di Studio di Impatto Ambientale) </a:t>
          </a:r>
          <a:r>
            <a:rPr lang="it-IT" sz="1200" b="1" kern="1200" dirty="0">
              <a:solidFill>
                <a:srgbClr val="000000"/>
              </a:solidFill>
            </a:rPr>
            <a:t>conforme alle Linee Guida per l’esame dei progetti emanate dal Consiglio Superiore dei Lavori Pubblici.</a:t>
          </a:r>
          <a:endParaRPr lang="it-IT" sz="3300" kern="1200" dirty="0"/>
        </a:p>
      </dsp:txBody>
      <dsp:txXfrm rot="-5400000">
        <a:off x="529979" y="3303547"/>
        <a:ext cx="9675994" cy="447785"/>
      </dsp:txXfrm>
    </dsp:sp>
    <dsp:sp modelId="{994586A2-93CE-42C6-8A54-DEA7A9C04D82}">
      <dsp:nvSpPr>
        <dsp:cNvPr id="0" name=""/>
        <dsp:cNvSpPr/>
      </dsp:nvSpPr>
      <dsp:spPr>
        <a:xfrm rot="5400000">
          <a:off x="-118941" y="4072867"/>
          <a:ext cx="763436" cy="534405"/>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it-IT" sz="800" kern="1200" dirty="0">
              <a:solidFill>
                <a:schemeClr val="bg1"/>
              </a:solidFill>
            </a:rPr>
            <a:t>31.03.2022</a:t>
          </a:r>
        </a:p>
      </dsp:txBody>
      <dsp:txXfrm rot="-5400000">
        <a:off x="-4425" y="4225555"/>
        <a:ext cx="534405" cy="229031"/>
      </dsp:txXfrm>
    </dsp:sp>
    <dsp:sp modelId="{82D0A068-8AC8-4654-80DB-8A2D962961DA}">
      <dsp:nvSpPr>
        <dsp:cNvPr id="0" name=""/>
        <dsp:cNvSpPr/>
      </dsp:nvSpPr>
      <dsp:spPr>
        <a:xfrm rot="5400000">
          <a:off x="5131971" y="-645212"/>
          <a:ext cx="496233" cy="970021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None/>
          </a:pPr>
          <a:r>
            <a:rPr lang="it-IT" sz="1200" b="1" kern="1200" dirty="0">
              <a:solidFill>
                <a:srgbClr val="000000"/>
              </a:solidFill>
            </a:rPr>
            <a:t>   ASPI ha presentato l’istanza </a:t>
          </a:r>
          <a:r>
            <a:rPr lang="it-IT" sz="1200" b="0" kern="1200" dirty="0">
              <a:solidFill>
                <a:srgbClr val="000000"/>
              </a:solidFill>
            </a:rPr>
            <a:t>per</a:t>
          </a:r>
          <a:r>
            <a:rPr lang="it-IT" sz="1200" b="1" kern="1200" dirty="0">
              <a:solidFill>
                <a:srgbClr val="000000"/>
              </a:solidFill>
            </a:rPr>
            <a:t> </a:t>
          </a:r>
          <a:r>
            <a:rPr lang="it-IT" sz="1200" b="0" kern="1200" dirty="0">
              <a:solidFill>
                <a:srgbClr val="000000"/>
              </a:solidFill>
            </a:rPr>
            <a:t>l’avvio della procedura </a:t>
          </a:r>
          <a:r>
            <a:rPr lang="it-IT" sz="1200" b="1" kern="1200" dirty="0">
              <a:solidFill>
                <a:srgbClr val="000000"/>
              </a:solidFill>
            </a:rPr>
            <a:t>di Valutazione di Impatto Ambientale, </a:t>
          </a:r>
          <a:r>
            <a:rPr lang="it-IT" sz="1200" b="0" kern="1200" dirty="0">
              <a:solidFill>
                <a:srgbClr val="000000"/>
              </a:solidFill>
            </a:rPr>
            <a:t>trasmettendo</a:t>
          </a:r>
          <a:r>
            <a:rPr lang="it-IT" sz="1200" b="1" kern="1200" dirty="0">
              <a:solidFill>
                <a:srgbClr val="000000"/>
              </a:solidFill>
            </a:rPr>
            <a:t> al MITE </a:t>
          </a:r>
          <a:r>
            <a:rPr lang="it-IT" sz="1200" b="0" kern="1200" dirty="0">
              <a:solidFill>
                <a:srgbClr val="000000"/>
              </a:solidFill>
            </a:rPr>
            <a:t>lo Studio di Impatto Ambientale aggiornato.</a:t>
          </a:r>
          <a:endParaRPr lang="it-IT" sz="1200" b="0" kern="1200" dirty="0"/>
        </a:p>
      </dsp:txBody>
      <dsp:txXfrm rot="-5400000">
        <a:off x="529979" y="3981004"/>
        <a:ext cx="9675994" cy="447785"/>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2" y="0"/>
            <a:ext cx="2945659" cy="498056"/>
          </a:xfrm>
          <a:prstGeom prst="rect">
            <a:avLst/>
          </a:prstGeom>
        </p:spPr>
        <p:txBody>
          <a:bodyPr vert="horz" lIns="91424" tIns="45712" rIns="91424" bIns="45712" rtlCol="0"/>
          <a:lstStyle>
            <a:lvl1pPr algn="l">
              <a:defRPr sz="1200"/>
            </a:lvl1pPr>
          </a:lstStyle>
          <a:p>
            <a:endParaRPr lang="it-IT"/>
          </a:p>
        </p:txBody>
      </p:sp>
      <p:sp>
        <p:nvSpPr>
          <p:cNvPr id="3" name="Segnaposto data 2"/>
          <p:cNvSpPr>
            <a:spLocks noGrp="1"/>
          </p:cNvSpPr>
          <p:nvPr>
            <p:ph type="dt" idx="1"/>
          </p:nvPr>
        </p:nvSpPr>
        <p:spPr>
          <a:xfrm>
            <a:off x="3850445" y="0"/>
            <a:ext cx="2945659" cy="498056"/>
          </a:xfrm>
          <a:prstGeom prst="rect">
            <a:avLst/>
          </a:prstGeom>
        </p:spPr>
        <p:txBody>
          <a:bodyPr vert="horz" lIns="91424" tIns="45712" rIns="91424" bIns="45712" rtlCol="0"/>
          <a:lstStyle>
            <a:lvl1pPr algn="r">
              <a:defRPr sz="1200"/>
            </a:lvl1pPr>
          </a:lstStyle>
          <a:p>
            <a:fld id="{2F84945C-4E20-4D6D-8FBA-64C3E380C25E}" type="datetimeFigureOut">
              <a:rPr lang="it-IT" smtClean="0"/>
              <a:t>13/04/2022</a:t>
            </a:fld>
            <a:endParaRPr lang="it-IT"/>
          </a:p>
        </p:txBody>
      </p:sp>
      <p:sp>
        <p:nvSpPr>
          <p:cNvPr id="4" name="Segnaposto immagine diapositiva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24" tIns="45712" rIns="91424" bIns="45712" rtlCol="0" anchor="ctr"/>
          <a:lstStyle/>
          <a:p>
            <a:endParaRPr lang="it-IT"/>
          </a:p>
        </p:txBody>
      </p:sp>
      <p:sp>
        <p:nvSpPr>
          <p:cNvPr id="5" name="Segnaposto note 4"/>
          <p:cNvSpPr>
            <a:spLocks noGrp="1"/>
          </p:cNvSpPr>
          <p:nvPr>
            <p:ph type="body" sz="quarter" idx="3"/>
          </p:nvPr>
        </p:nvSpPr>
        <p:spPr>
          <a:xfrm>
            <a:off x="679768" y="4777194"/>
            <a:ext cx="5438140" cy="3908614"/>
          </a:xfrm>
          <a:prstGeom prst="rect">
            <a:avLst/>
          </a:prstGeom>
        </p:spPr>
        <p:txBody>
          <a:bodyPr vert="horz" lIns="91424" tIns="45712" rIns="91424" bIns="45712"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2" y="9428586"/>
            <a:ext cx="2945659" cy="498055"/>
          </a:xfrm>
          <a:prstGeom prst="rect">
            <a:avLst/>
          </a:prstGeom>
        </p:spPr>
        <p:txBody>
          <a:bodyPr vert="horz" lIns="91424" tIns="45712" rIns="91424" bIns="45712" rtlCol="0" anchor="b"/>
          <a:lstStyle>
            <a:lvl1pPr algn="l">
              <a:defRPr sz="1200"/>
            </a:lvl1pPr>
          </a:lstStyle>
          <a:p>
            <a:endParaRPr lang="it-IT"/>
          </a:p>
        </p:txBody>
      </p:sp>
      <p:sp>
        <p:nvSpPr>
          <p:cNvPr id="7" name="Segnaposto numero diapositiva 6"/>
          <p:cNvSpPr>
            <a:spLocks noGrp="1"/>
          </p:cNvSpPr>
          <p:nvPr>
            <p:ph type="sldNum" sz="quarter" idx="5"/>
          </p:nvPr>
        </p:nvSpPr>
        <p:spPr>
          <a:xfrm>
            <a:off x="3850445" y="9428586"/>
            <a:ext cx="2945659" cy="498055"/>
          </a:xfrm>
          <a:prstGeom prst="rect">
            <a:avLst/>
          </a:prstGeom>
        </p:spPr>
        <p:txBody>
          <a:bodyPr vert="horz" lIns="91424" tIns="45712" rIns="91424" bIns="45712" rtlCol="0" anchor="b"/>
          <a:lstStyle>
            <a:lvl1pPr algn="r">
              <a:defRPr sz="1200"/>
            </a:lvl1pPr>
          </a:lstStyle>
          <a:p>
            <a:fld id="{F1005D6D-FACC-423A-955A-903D64F3A687}" type="slidenum">
              <a:rPr lang="it-IT" smtClean="0"/>
              <a:t>‹N›</a:t>
            </a:fld>
            <a:endParaRPr lang="it-IT"/>
          </a:p>
        </p:txBody>
      </p:sp>
    </p:spTree>
    <p:extLst>
      <p:ext uri="{BB962C8B-B14F-4D97-AF65-F5344CB8AC3E}">
        <p14:creationId xmlns:p14="http://schemas.microsoft.com/office/powerpoint/2010/main" val="23691508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TITOLO | Carattere </a:t>
            </a:r>
            <a:r>
              <a:rPr lang="it-IT" dirty="0" err="1"/>
              <a:t>Univers</a:t>
            </a:r>
            <a:r>
              <a:rPr lang="it-IT" dirty="0"/>
              <a:t> | Grandezza carattere 36 | GRASSETTO </a:t>
            </a:r>
          </a:p>
          <a:p>
            <a:r>
              <a:rPr lang="it-IT" dirty="0"/>
              <a:t>SOTTOTITOLO | Carattere </a:t>
            </a:r>
            <a:r>
              <a:rPr lang="it-IT" dirty="0" err="1"/>
              <a:t>Univers</a:t>
            </a:r>
            <a:r>
              <a:rPr lang="it-IT" dirty="0"/>
              <a:t> | Grandezza carattere 20 | GRASSETTO</a:t>
            </a:r>
          </a:p>
          <a:p>
            <a:endParaRPr lang="it-IT" dirty="0"/>
          </a:p>
          <a:p>
            <a:r>
              <a:rPr lang="it-IT" dirty="0"/>
              <a:t>In alto a destra inserire sempre con Carattere </a:t>
            </a:r>
            <a:r>
              <a:rPr lang="it-IT" dirty="0" err="1"/>
              <a:t>Univers</a:t>
            </a:r>
            <a:r>
              <a:rPr lang="it-IT" dirty="0"/>
              <a:t> 14 | GRASSETTO | COLORE BIANCO</a:t>
            </a:r>
          </a:p>
          <a:p>
            <a:pPr marL="171422" indent="-171422">
              <a:buFontTx/>
              <a:buChar char="-"/>
            </a:pPr>
            <a:r>
              <a:rPr lang="it-IT" dirty="0"/>
              <a:t>Occasione d’uso (es. CDA)</a:t>
            </a:r>
          </a:p>
          <a:p>
            <a:pPr marL="171422" indent="-171422">
              <a:buFontTx/>
              <a:buChar char="-"/>
            </a:pPr>
            <a:r>
              <a:rPr lang="it-IT" dirty="0"/>
              <a:t>Struttura o Direzione scrivente </a:t>
            </a:r>
          </a:p>
          <a:p>
            <a:pPr marL="171422" indent="-171422">
              <a:buFontTx/>
              <a:buChar char="-"/>
            </a:pPr>
            <a:r>
              <a:rPr lang="it-IT" dirty="0"/>
              <a:t>Data con gg/mm/aa </a:t>
            </a:r>
          </a:p>
        </p:txBody>
      </p:sp>
      <p:sp>
        <p:nvSpPr>
          <p:cNvPr id="4" name="Segnaposto numero diapositiva 3"/>
          <p:cNvSpPr>
            <a:spLocks noGrp="1"/>
          </p:cNvSpPr>
          <p:nvPr>
            <p:ph type="sldNum" sz="quarter" idx="5"/>
          </p:nvPr>
        </p:nvSpPr>
        <p:spPr/>
        <p:txBody>
          <a:bodyPr/>
          <a:lstStyle/>
          <a:p>
            <a:fld id="{EAB274CE-C0A5-42C4-A376-96A8777A2E1A}" type="slidenum">
              <a:rPr lang="it-IT" smtClean="0"/>
              <a:t>1</a:t>
            </a:fld>
            <a:endParaRPr lang="it-IT"/>
          </a:p>
        </p:txBody>
      </p:sp>
    </p:spTree>
    <p:extLst>
      <p:ext uri="{BB962C8B-B14F-4D97-AF65-F5344CB8AC3E}">
        <p14:creationId xmlns:p14="http://schemas.microsoft.com/office/powerpoint/2010/main" val="28166442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11</a:t>
            </a:fld>
            <a:endParaRPr lang="it-IT"/>
          </a:p>
        </p:txBody>
      </p:sp>
    </p:spTree>
    <p:extLst>
      <p:ext uri="{BB962C8B-B14F-4D97-AF65-F5344CB8AC3E}">
        <p14:creationId xmlns:p14="http://schemas.microsoft.com/office/powerpoint/2010/main" val="9335992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12</a:t>
            </a:fld>
            <a:endParaRPr lang="it-IT"/>
          </a:p>
        </p:txBody>
      </p:sp>
    </p:spTree>
    <p:extLst>
      <p:ext uri="{BB962C8B-B14F-4D97-AF65-F5344CB8AC3E}">
        <p14:creationId xmlns:p14="http://schemas.microsoft.com/office/powerpoint/2010/main" val="3556212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13</a:t>
            </a:fld>
            <a:endParaRPr lang="it-IT"/>
          </a:p>
        </p:txBody>
      </p:sp>
    </p:spTree>
    <p:extLst>
      <p:ext uri="{BB962C8B-B14F-4D97-AF65-F5344CB8AC3E}">
        <p14:creationId xmlns:p14="http://schemas.microsoft.com/office/powerpoint/2010/main" val="13200492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14</a:t>
            </a:fld>
            <a:endParaRPr lang="it-IT"/>
          </a:p>
        </p:txBody>
      </p:sp>
    </p:spTree>
    <p:extLst>
      <p:ext uri="{BB962C8B-B14F-4D97-AF65-F5344CB8AC3E}">
        <p14:creationId xmlns:p14="http://schemas.microsoft.com/office/powerpoint/2010/main" val="3556212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15</a:t>
            </a:fld>
            <a:endParaRPr lang="it-IT"/>
          </a:p>
        </p:txBody>
      </p:sp>
    </p:spTree>
    <p:extLst>
      <p:ext uri="{BB962C8B-B14F-4D97-AF65-F5344CB8AC3E}">
        <p14:creationId xmlns:p14="http://schemas.microsoft.com/office/powerpoint/2010/main" val="37473033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16</a:t>
            </a:fld>
            <a:endParaRPr lang="it-IT"/>
          </a:p>
        </p:txBody>
      </p:sp>
    </p:spTree>
    <p:extLst>
      <p:ext uri="{BB962C8B-B14F-4D97-AF65-F5344CB8AC3E}">
        <p14:creationId xmlns:p14="http://schemas.microsoft.com/office/powerpoint/2010/main" val="27927257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17</a:t>
            </a:fld>
            <a:endParaRPr lang="it-IT"/>
          </a:p>
        </p:txBody>
      </p:sp>
    </p:spTree>
    <p:extLst>
      <p:ext uri="{BB962C8B-B14F-4D97-AF65-F5344CB8AC3E}">
        <p14:creationId xmlns:p14="http://schemas.microsoft.com/office/powerpoint/2010/main" val="35791218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18</a:t>
            </a:fld>
            <a:endParaRPr lang="it-IT"/>
          </a:p>
        </p:txBody>
      </p:sp>
    </p:spTree>
    <p:extLst>
      <p:ext uri="{BB962C8B-B14F-4D97-AF65-F5344CB8AC3E}">
        <p14:creationId xmlns:p14="http://schemas.microsoft.com/office/powerpoint/2010/main" val="4954227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19</a:t>
            </a:fld>
            <a:endParaRPr lang="it-IT"/>
          </a:p>
        </p:txBody>
      </p:sp>
    </p:spTree>
    <p:extLst>
      <p:ext uri="{BB962C8B-B14F-4D97-AF65-F5344CB8AC3E}">
        <p14:creationId xmlns:p14="http://schemas.microsoft.com/office/powerpoint/2010/main" val="20834229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20</a:t>
            </a:fld>
            <a:endParaRPr lang="it-IT"/>
          </a:p>
        </p:txBody>
      </p:sp>
    </p:spTree>
    <p:extLst>
      <p:ext uri="{BB962C8B-B14F-4D97-AF65-F5344CB8AC3E}">
        <p14:creationId xmlns:p14="http://schemas.microsoft.com/office/powerpoint/2010/main" val="6583737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3</a:t>
            </a:fld>
            <a:endParaRPr lang="it-IT"/>
          </a:p>
        </p:txBody>
      </p:sp>
    </p:spTree>
    <p:extLst>
      <p:ext uri="{BB962C8B-B14F-4D97-AF65-F5344CB8AC3E}">
        <p14:creationId xmlns:p14="http://schemas.microsoft.com/office/powerpoint/2010/main" val="21391858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21</a:t>
            </a:fld>
            <a:endParaRPr lang="it-IT"/>
          </a:p>
        </p:txBody>
      </p:sp>
    </p:spTree>
    <p:extLst>
      <p:ext uri="{BB962C8B-B14F-4D97-AF65-F5344CB8AC3E}">
        <p14:creationId xmlns:p14="http://schemas.microsoft.com/office/powerpoint/2010/main" val="39934232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22</a:t>
            </a:fld>
            <a:endParaRPr lang="it-IT"/>
          </a:p>
        </p:txBody>
      </p:sp>
    </p:spTree>
    <p:extLst>
      <p:ext uri="{BB962C8B-B14F-4D97-AF65-F5344CB8AC3E}">
        <p14:creationId xmlns:p14="http://schemas.microsoft.com/office/powerpoint/2010/main" val="20138182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23</a:t>
            </a:fld>
            <a:endParaRPr lang="it-IT"/>
          </a:p>
        </p:txBody>
      </p:sp>
    </p:spTree>
    <p:extLst>
      <p:ext uri="{BB962C8B-B14F-4D97-AF65-F5344CB8AC3E}">
        <p14:creationId xmlns:p14="http://schemas.microsoft.com/office/powerpoint/2010/main" val="4643713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24</a:t>
            </a:fld>
            <a:endParaRPr lang="it-IT"/>
          </a:p>
        </p:txBody>
      </p:sp>
    </p:spTree>
    <p:extLst>
      <p:ext uri="{BB962C8B-B14F-4D97-AF65-F5344CB8AC3E}">
        <p14:creationId xmlns:p14="http://schemas.microsoft.com/office/powerpoint/2010/main" val="21625452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25</a:t>
            </a:fld>
            <a:endParaRPr lang="it-IT"/>
          </a:p>
        </p:txBody>
      </p:sp>
    </p:spTree>
    <p:extLst>
      <p:ext uri="{BB962C8B-B14F-4D97-AF65-F5344CB8AC3E}">
        <p14:creationId xmlns:p14="http://schemas.microsoft.com/office/powerpoint/2010/main" val="26984437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26</a:t>
            </a:fld>
            <a:endParaRPr lang="it-IT"/>
          </a:p>
        </p:txBody>
      </p:sp>
    </p:spTree>
    <p:extLst>
      <p:ext uri="{BB962C8B-B14F-4D97-AF65-F5344CB8AC3E}">
        <p14:creationId xmlns:p14="http://schemas.microsoft.com/office/powerpoint/2010/main" val="41994978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27</a:t>
            </a:fld>
            <a:endParaRPr lang="it-IT"/>
          </a:p>
        </p:txBody>
      </p:sp>
    </p:spTree>
    <p:extLst>
      <p:ext uri="{BB962C8B-B14F-4D97-AF65-F5344CB8AC3E}">
        <p14:creationId xmlns:p14="http://schemas.microsoft.com/office/powerpoint/2010/main" val="28671701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4</a:t>
            </a:fld>
            <a:endParaRPr lang="it-IT"/>
          </a:p>
        </p:txBody>
      </p:sp>
    </p:spTree>
    <p:extLst>
      <p:ext uri="{BB962C8B-B14F-4D97-AF65-F5344CB8AC3E}">
        <p14:creationId xmlns:p14="http://schemas.microsoft.com/office/powerpoint/2010/main" val="32049896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5</a:t>
            </a:fld>
            <a:endParaRPr lang="it-IT"/>
          </a:p>
        </p:txBody>
      </p:sp>
    </p:spTree>
    <p:extLst>
      <p:ext uri="{BB962C8B-B14F-4D97-AF65-F5344CB8AC3E}">
        <p14:creationId xmlns:p14="http://schemas.microsoft.com/office/powerpoint/2010/main" val="10529583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6</a:t>
            </a:fld>
            <a:endParaRPr lang="it-IT"/>
          </a:p>
        </p:txBody>
      </p:sp>
    </p:spTree>
    <p:extLst>
      <p:ext uri="{BB962C8B-B14F-4D97-AF65-F5344CB8AC3E}">
        <p14:creationId xmlns:p14="http://schemas.microsoft.com/office/powerpoint/2010/main" val="3110518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7</a:t>
            </a:fld>
            <a:endParaRPr lang="it-IT"/>
          </a:p>
        </p:txBody>
      </p:sp>
    </p:spTree>
    <p:extLst>
      <p:ext uri="{BB962C8B-B14F-4D97-AF65-F5344CB8AC3E}">
        <p14:creationId xmlns:p14="http://schemas.microsoft.com/office/powerpoint/2010/main" val="15067260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8</a:t>
            </a:fld>
            <a:endParaRPr lang="it-IT"/>
          </a:p>
        </p:txBody>
      </p:sp>
    </p:spTree>
    <p:extLst>
      <p:ext uri="{BB962C8B-B14F-4D97-AF65-F5344CB8AC3E}">
        <p14:creationId xmlns:p14="http://schemas.microsoft.com/office/powerpoint/2010/main" val="10937466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9</a:t>
            </a:fld>
            <a:endParaRPr lang="it-IT"/>
          </a:p>
        </p:txBody>
      </p:sp>
    </p:spTree>
    <p:extLst>
      <p:ext uri="{BB962C8B-B14F-4D97-AF65-F5344CB8AC3E}">
        <p14:creationId xmlns:p14="http://schemas.microsoft.com/office/powerpoint/2010/main" val="27812544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F1005D6D-FACC-423A-955A-903D64F3A687}" type="slidenum">
              <a:rPr lang="it-IT" smtClean="0"/>
              <a:t>10</a:t>
            </a:fld>
            <a:endParaRPr lang="it-IT"/>
          </a:p>
        </p:txBody>
      </p:sp>
    </p:spTree>
    <p:extLst>
      <p:ext uri="{BB962C8B-B14F-4D97-AF65-F5344CB8AC3E}">
        <p14:creationId xmlns:p14="http://schemas.microsoft.com/office/powerpoint/2010/main" val="9479110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1209527-725C-4F50-ACEB-0ACA11E9FE15}"/>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0B12D53E-F59A-4D19-ADB9-20EA232D06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9DFD16D7-74E7-4747-9F0E-6EA206A759E4}"/>
              </a:ext>
            </a:extLst>
          </p:cNvPr>
          <p:cNvSpPr>
            <a:spLocks noGrp="1"/>
          </p:cNvSpPr>
          <p:nvPr>
            <p:ph type="dt" sz="half" idx="10"/>
          </p:nvPr>
        </p:nvSpPr>
        <p:spPr>
          <a:xfrm>
            <a:off x="838200" y="6356350"/>
            <a:ext cx="2743200" cy="365125"/>
          </a:xfrm>
          <a:prstGeom prst="rect">
            <a:avLst/>
          </a:prstGeom>
        </p:spPr>
        <p:txBody>
          <a:bodyPr/>
          <a:lstStyle/>
          <a:p>
            <a:fld id="{4C2171CF-8848-4769-A656-C4607813EABF}" type="datetimeFigureOut">
              <a:rPr lang="it-IT" smtClean="0"/>
              <a:t>13/04/2022</a:t>
            </a:fld>
            <a:endParaRPr lang="it-IT"/>
          </a:p>
        </p:txBody>
      </p:sp>
      <p:sp>
        <p:nvSpPr>
          <p:cNvPr id="5" name="Segnaposto piè di pagina 4">
            <a:extLst>
              <a:ext uri="{FF2B5EF4-FFF2-40B4-BE49-F238E27FC236}">
                <a16:creationId xmlns:a16="http://schemas.microsoft.com/office/drawing/2014/main" id="{CA1F31C0-188A-46B3-BC5B-C1C029268B04}"/>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8839D899-EDFB-4398-BA2A-CD462FFB9D9D}"/>
              </a:ext>
            </a:extLst>
          </p:cNvPr>
          <p:cNvSpPr>
            <a:spLocks noGrp="1"/>
          </p:cNvSpPr>
          <p:nvPr>
            <p:ph type="sldNum" sz="quarter" idx="12"/>
          </p:nvPr>
        </p:nvSpPr>
        <p:spPr/>
        <p:txBody>
          <a:bodyPr/>
          <a:lstStyle/>
          <a:p>
            <a:fld id="{9A74E16A-15CF-4C5F-9279-AF8F569BC825}" type="slidenum">
              <a:rPr lang="it-IT" smtClean="0"/>
              <a:t>‹N›</a:t>
            </a:fld>
            <a:endParaRPr lang="it-IT"/>
          </a:p>
        </p:txBody>
      </p:sp>
    </p:spTree>
    <p:extLst>
      <p:ext uri="{BB962C8B-B14F-4D97-AF65-F5344CB8AC3E}">
        <p14:creationId xmlns:p14="http://schemas.microsoft.com/office/powerpoint/2010/main" val="38771356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367ED6C-3AE5-47C6-A541-821543D3305D}"/>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EA285753-3B28-4819-9FE6-CB9D2A3C3770}"/>
              </a:ext>
            </a:extLst>
          </p:cNvPr>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9418EEE1-250B-41B0-94C3-5841E97E66DD}"/>
              </a:ext>
            </a:extLst>
          </p:cNvPr>
          <p:cNvSpPr>
            <a:spLocks noGrp="1"/>
          </p:cNvSpPr>
          <p:nvPr>
            <p:ph type="dt" sz="half" idx="10"/>
          </p:nvPr>
        </p:nvSpPr>
        <p:spPr>
          <a:xfrm>
            <a:off x="838200" y="6356350"/>
            <a:ext cx="2743200" cy="365125"/>
          </a:xfrm>
          <a:prstGeom prst="rect">
            <a:avLst/>
          </a:prstGeom>
        </p:spPr>
        <p:txBody>
          <a:bodyPr/>
          <a:lstStyle/>
          <a:p>
            <a:fld id="{4C2171CF-8848-4769-A656-C4607813EABF}" type="datetimeFigureOut">
              <a:rPr lang="it-IT" smtClean="0"/>
              <a:t>13/04/2022</a:t>
            </a:fld>
            <a:endParaRPr lang="it-IT"/>
          </a:p>
        </p:txBody>
      </p:sp>
      <p:sp>
        <p:nvSpPr>
          <p:cNvPr id="5" name="Segnaposto piè di pagina 4">
            <a:extLst>
              <a:ext uri="{FF2B5EF4-FFF2-40B4-BE49-F238E27FC236}">
                <a16:creationId xmlns:a16="http://schemas.microsoft.com/office/drawing/2014/main" id="{E1AF6AD3-5279-465F-843C-84880AE65832}"/>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8BAF1276-751A-4788-BD11-35C8F2E54FFF}"/>
              </a:ext>
            </a:extLst>
          </p:cNvPr>
          <p:cNvSpPr>
            <a:spLocks noGrp="1"/>
          </p:cNvSpPr>
          <p:nvPr>
            <p:ph type="sldNum" sz="quarter" idx="12"/>
          </p:nvPr>
        </p:nvSpPr>
        <p:spPr/>
        <p:txBody>
          <a:bodyPr/>
          <a:lstStyle/>
          <a:p>
            <a:fld id="{9A74E16A-15CF-4C5F-9279-AF8F569BC825}" type="slidenum">
              <a:rPr lang="it-IT" smtClean="0"/>
              <a:t>‹N›</a:t>
            </a:fld>
            <a:endParaRPr lang="it-IT"/>
          </a:p>
        </p:txBody>
      </p:sp>
    </p:spTree>
    <p:extLst>
      <p:ext uri="{BB962C8B-B14F-4D97-AF65-F5344CB8AC3E}">
        <p14:creationId xmlns:p14="http://schemas.microsoft.com/office/powerpoint/2010/main" val="7532955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09DDAC06-AE47-415F-9D9B-59493D41EB32}"/>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61A9CB2F-5D77-4556-96EE-4DE8945E287F}"/>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ABAA32CA-CB35-4B73-A910-F871473048A9}"/>
              </a:ext>
            </a:extLst>
          </p:cNvPr>
          <p:cNvSpPr>
            <a:spLocks noGrp="1"/>
          </p:cNvSpPr>
          <p:nvPr>
            <p:ph type="dt" sz="half" idx="10"/>
          </p:nvPr>
        </p:nvSpPr>
        <p:spPr>
          <a:xfrm>
            <a:off x="838200" y="6356350"/>
            <a:ext cx="2743200" cy="365125"/>
          </a:xfrm>
          <a:prstGeom prst="rect">
            <a:avLst/>
          </a:prstGeom>
        </p:spPr>
        <p:txBody>
          <a:bodyPr/>
          <a:lstStyle/>
          <a:p>
            <a:fld id="{4C2171CF-8848-4769-A656-C4607813EABF}" type="datetimeFigureOut">
              <a:rPr lang="it-IT" smtClean="0"/>
              <a:t>13/04/2022</a:t>
            </a:fld>
            <a:endParaRPr lang="it-IT"/>
          </a:p>
        </p:txBody>
      </p:sp>
      <p:sp>
        <p:nvSpPr>
          <p:cNvPr id="5" name="Segnaposto piè di pagina 4">
            <a:extLst>
              <a:ext uri="{FF2B5EF4-FFF2-40B4-BE49-F238E27FC236}">
                <a16:creationId xmlns:a16="http://schemas.microsoft.com/office/drawing/2014/main" id="{93D68C41-2AAF-476F-8A2F-BADFFB7464BD}"/>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94D3309B-90F6-4EDD-A46C-69C865CA4F5E}"/>
              </a:ext>
            </a:extLst>
          </p:cNvPr>
          <p:cNvSpPr>
            <a:spLocks noGrp="1"/>
          </p:cNvSpPr>
          <p:nvPr>
            <p:ph type="sldNum" sz="quarter" idx="12"/>
          </p:nvPr>
        </p:nvSpPr>
        <p:spPr/>
        <p:txBody>
          <a:bodyPr/>
          <a:lstStyle/>
          <a:p>
            <a:fld id="{9A74E16A-15CF-4C5F-9279-AF8F569BC825}" type="slidenum">
              <a:rPr lang="it-IT" smtClean="0"/>
              <a:t>‹N›</a:t>
            </a:fld>
            <a:endParaRPr lang="it-IT"/>
          </a:p>
        </p:txBody>
      </p:sp>
    </p:spTree>
    <p:extLst>
      <p:ext uri="{BB962C8B-B14F-4D97-AF65-F5344CB8AC3E}">
        <p14:creationId xmlns:p14="http://schemas.microsoft.com/office/powerpoint/2010/main" val="4188011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사용자 레이아웃_1">
    <p:spTree>
      <p:nvGrpSpPr>
        <p:cNvPr id="1" name=""/>
        <p:cNvGrpSpPr/>
        <p:nvPr/>
      </p:nvGrpSpPr>
      <p:grpSpPr>
        <a:xfrm>
          <a:off x="0" y="0"/>
          <a:ext cx="0" cy="0"/>
          <a:chOff x="0" y="0"/>
          <a:chExt cx="0" cy="0"/>
        </a:xfrm>
      </p:grpSpPr>
      <p:sp>
        <p:nvSpPr>
          <p:cNvPr id="4" name="날짜 개체 틀 3">
            <a:extLst>
              <a:ext uri="{FF2B5EF4-FFF2-40B4-BE49-F238E27FC236}">
                <a16:creationId xmlns:a16="http://schemas.microsoft.com/office/drawing/2014/main" id="{4139C246-C248-4351-9D38-88EA60C998D4}"/>
              </a:ext>
            </a:extLst>
          </p:cNvPr>
          <p:cNvSpPr>
            <a:spLocks noGrp="1"/>
          </p:cNvSpPr>
          <p:nvPr>
            <p:ph type="dt" sz="half" idx="10"/>
          </p:nvPr>
        </p:nvSpPr>
        <p:spPr>
          <a:xfrm>
            <a:off x="838200" y="6356350"/>
            <a:ext cx="2743200" cy="365125"/>
          </a:xfrm>
          <a:prstGeom prst="rect">
            <a:avLst/>
          </a:prstGeom>
        </p:spPr>
        <p:txBody>
          <a:bodyPr/>
          <a:lstStyle/>
          <a:p>
            <a:endParaRPr lang="ko-KR" altLang="en-US"/>
          </a:p>
        </p:txBody>
      </p:sp>
      <p:sp>
        <p:nvSpPr>
          <p:cNvPr id="5" name="바닥글 개체 틀 4">
            <a:extLst>
              <a:ext uri="{FF2B5EF4-FFF2-40B4-BE49-F238E27FC236}">
                <a16:creationId xmlns:a16="http://schemas.microsoft.com/office/drawing/2014/main" id="{B1AFD489-0747-4A2B-9863-3DBDFC86A3F8}"/>
              </a:ext>
            </a:extLst>
          </p:cNvPr>
          <p:cNvSpPr>
            <a:spLocks noGrp="1"/>
          </p:cNvSpPr>
          <p:nvPr>
            <p:ph type="ftr" sz="quarter" idx="11"/>
          </p:nvPr>
        </p:nvSpPr>
        <p:spPr>
          <a:xfrm>
            <a:off x="4038600" y="6356350"/>
            <a:ext cx="4114800" cy="365125"/>
          </a:xfrm>
          <a:prstGeom prst="rect">
            <a:avLst/>
          </a:prstGeom>
        </p:spPr>
        <p:txBody>
          <a:bodyPr/>
          <a:lstStyle/>
          <a:p>
            <a:endParaRPr lang="ko-KR" altLang="en-US"/>
          </a:p>
        </p:txBody>
      </p:sp>
      <p:sp>
        <p:nvSpPr>
          <p:cNvPr id="6" name="슬라이드 번호 개체 틀 5">
            <a:extLst>
              <a:ext uri="{FF2B5EF4-FFF2-40B4-BE49-F238E27FC236}">
                <a16:creationId xmlns:a16="http://schemas.microsoft.com/office/drawing/2014/main" id="{2361586B-01E3-4644-A852-F8A59108609C}"/>
              </a:ext>
            </a:extLst>
          </p:cNvPr>
          <p:cNvSpPr>
            <a:spLocks noGrp="1"/>
          </p:cNvSpPr>
          <p:nvPr>
            <p:ph type="sldNum" sz="quarter" idx="12"/>
          </p:nvPr>
        </p:nvSpPr>
        <p:spPr/>
        <p:txBody>
          <a:bodyPr/>
          <a:lstStyle/>
          <a:p>
            <a:fld id="{8FFF1885-F02A-4FD5-B839-7A201307549F}" type="slidenum">
              <a:rPr lang="ko-KR" altLang="en-US" smtClean="0"/>
              <a:t>‹N›</a:t>
            </a:fld>
            <a:endParaRPr lang="ko-KR" altLang="en-US"/>
          </a:p>
        </p:txBody>
      </p:sp>
      <p:sp>
        <p:nvSpPr>
          <p:cNvPr id="7" name="그림 개체 틀 6">
            <a:extLst>
              <a:ext uri="{FF2B5EF4-FFF2-40B4-BE49-F238E27FC236}">
                <a16:creationId xmlns:a16="http://schemas.microsoft.com/office/drawing/2014/main" id="{D4B5D8C6-4A00-416C-BAB3-F8F661A9B24F}"/>
              </a:ext>
            </a:extLst>
          </p:cNvPr>
          <p:cNvSpPr>
            <a:spLocks noGrp="1"/>
          </p:cNvSpPr>
          <p:nvPr>
            <p:ph type="pic" sz="quarter" idx="13"/>
          </p:nvPr>
        </p:nvSpPr>
        <p:spPr>
          <a:xfrm>
            <a:off x="5483225" y="0"/>
            <a:ext cx="3549650" cy="6858000"/>
          </a:xfrm>
          <a:prstGeom prst="rect">
            <a:avLst/>
          </a:prstGeom>
        </p:spPr>
        <p:txBody>
          <a:bodyPr/>
          <a:lstStyle/>
          <a:p>
            <a:endParaRPr lang="ko-KR" altLang="en-US"/>
          </a:p>
        </p:txBody>
      </p:sp>
      <p:sp>
        <p:nvSpPr>
          <p:cNvPr id="8" name="그림 개체 틀 6">
            <a:extLst>
              <a:ext uri="{FF2B5EF4-FFF2-40B4-BE49-F238E27FC236}">
                <a16:creationId xmlns:a16="http://schemas.microsoft.com/office/drawing/2014/main" id="{FBAE941E-B933-4B46-84CE-141F3C7E1F86}"/>
              </a:ext>
            </a:extLst>
          </p:cNvPr>
          <p:cNvSpPr>
            <a:spLocks noGrp="1"/>
          </p:cNvSpPr>
          <p:nvPr>
            <p:ph type="pic" sz="quarter" idx="14"/>
          </p:nvPr>
        </p:nvSpPr>
        <p:spPr>
          <a:xfrm>
            <a:off x="9032875" y="4165600"/>
            <a:ext cx="3159125" cy="2692400"/>
          </a:xfrm>
          <a:prstGeom prst="rect">
            <a:avLst/>
          </a:prstGeom>
        </p:spPr>
        <p:txBody>
          <a:bodyPr/>
          <a:lstStyle/>
          <a:p>
            <a:endParaRPr lang="ko-KR" altLang="en-US"/>
          </a:p>
        </p:txBody>
      </p:sp>
      <p:sp>
        <p:nvSpPr>
          <p:cNvPr id="9" name="슬라이드 번호 개체 틀 5">
            <a:extLst>
              <a:ext uri="{FF2B5EF4-FFF2-40B4-BE49-F238E27FC236}">
                <a16:creationId xmlns:a16="http://schemas.microsoft.com/office/drawing/2014/main" id="{C360368C-729A-4089-90CE-C327BE6C7B9D}"/>
              </a:ext>
            </a:extLst>
          </p:cNvPr>
          <p:cNvSpPr txBox="1">
            <a:spLocks/>
          </p:cNvSpPr>
          <p:nvPr userDrawn="1"/>
        </p:nvSpPr>
        <p:spPr>
          <a:xfrm>
            <a:off x="9304565" y="6356350"/>
            <a:ext cx="2743200" cy="365125"/>
          </a:xfrm>
          <a:prstGeom prst="rect">
            <a:avLst/>
          </a:prstGeom>
        </p:spPr>
        <p:txBody>
          <a:bodyPr vert="horz" lIns="91440" tIns="45720" rIns="91440" bIns="45720" rtlCol="0" anchor="ctr"/>
          <a:lstStyle>
            <a:defPPr>
              <a:defRPr lang="it-I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FF1885-F02A-4FD5-B839-7A201307549F}" type="slidenum">
              <a:rPr lang="ko-KR" altLang="en-US" smtClean="0"/>
              <a:pPr/>
              <a:t>‹N›</a:t>
            </a:fld>
            <a:endParaRPr lang="ko-KR" altLang="en-US"/>
          </a:p>
        </p:txBody>
      </p:sp>
    </p:spTree>
    <p:extLst>
      <p:ext uri="{BB962C8B-B14F-4D97-AF65-F5344CB8AC3E}">
        <p14:creationId xmlns:p14="http://schemas.microsoft.com/office/powerpoint/2010/main" val="305134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3_사용자 레이아웃_1">
    <p:spTree>
      <p:nvGrpSpPr>
        <p:cNvPr id="1" name=""/>
        <p:cNvGrpSpPr/>
        <p:nvPr/>
      </p:nvGrpSpPr>
      <p:grpSpPr>
        <a:xfrm>
          <a:off x="0" y="0"/>
          <a:ext cx="0" cy="0"/>
          <a:chOff x="0" y="0"/>
          <a:chExt cx="0" cy="0"/>
        </a:xfrm>
      </p:grpSpPr>
      <p:sp>
        <p:nvSpPr>
          <p:cNvPr id="4" name="날짜 개체 틀 3">
            <a:extLst>
              <a:ext uri="{FF2B5EF4-FFF2-40B4-BE49-F238E27FC236}">
                <a16:creationId xmlns:a16="http://schemas.microsoft.com/office/drawing/2014/main" id="{4139C246-C248-4351-9D38-88EA60C998D4}"/>
              </a:ext>
            </a:extLst>
          </p:cNvPr>
          <p:cNvSpPr>
            <a:spLocks noGrp="1"/>
          </p:cNvSpPr>
          <p:nvPr>
            <p:ph type="dt" sz="half" idx="10"/>
          </p:nvPr>
        </p:nvSpPr>
        <p:spPr>
          <a:xfrm>
            <a:off x="838200" y="6356350"/>
            <a:ext cx="2743200" cy="365125"/>
          </a:xfrm>
          <a:prstGeom prst="rect">
            <a:avLst/>
          </a:prstGeom>
        </p:spPr>
        <p:txBody>
          <a:bodyPr/>
          <a:lstStyle/>
          <a:p>
            <a:endParaRPr lang="ko-KR" altLang="en-US"/>
          </a:p>
        </p:txBody>
      </p:sp>
      <p:sp>
        <p:nvSpPr>
          <p:cNvPr id="5" name="바닥글 개체 틀 4">
            <a:extLst>
              <a:ext uri="{FF2B5EF4-FFF2-40B4-BE49-F238E27FC236}">
                <a16:creationId xmlns:a16="http://schemas.microsoft.com/office/drawing/2014/main" id="{B1AFD489-0747-4A2B-9863-3DBDFC86A3F8}"/>
              </a:ext>
            </a:extLst>
          </p:cNvPr>
          <p:cNvSpPr>
            <a:spLocks noGrp="1"/>
          </p:cNvSpPr>
          <p:nvPr>
            <p:ph type="ftr" sz="quarter" idx="11"/>
          </p:nvPr>
        </p:nvSpPr>
        <p:spPr>
          <a:xfrm>
            <a:off x="4038600" y="6356350"/>
            <a:ext cx="4114800" cy="365125"/>
          </a:xfrm>
          <a:prstGeom prst="rect">
            <a:avLst/>
          </a:prstGeom>
        </p:spPr>
        <p:txBody>
          <a:bodyPr/>
          <a:lstStyle/>
          <a:p>
            <a:endParaRPr lang="ko-KR" altLang="en-US"/>
          </a:p>
        </p:txBody>
      </p:sp>
      <p:sp>
        <p:nvSpPr>
          <p:cNvPr id="6" name="슬라이드 번호 개체 틀 5">
            <a:extLst>
              <a:ext uri="{FF2B5EF4-FFF2-40B4-BE49-F238E27FC236}">
                <a16:creationId xmlns:a16="http://schemas.microsoft.com/office/drawing/2014/main" id="{2361586B-01E3-4644-A852-F8A59108609C}"/>
              </a:ext>
            </a:extLst>
          </p:cNvPr>
          <p:cNvSpPr>
            <a:spLocks noGrp="1"/>
          </p:cNvSpPr>
          <p:nvPr>
            <p:ph type="sldNum" sz="quarter" idx="12"/>
          </p:nvPr>
        </p:nvSpPr>
        <p:spPr/>
        <p:txBody>
          <a:bodyPr/>
          <a:lstStyle/>
          <a:p>
            <a:fld id="{8FFF1885-F02A-4FD5-B839-7A201307549F}" type="slidenum">
              <a:rPr lang="ko-KR" altLang="en-US" smtClean="0"/>
              <a:t>‹N›</a:t>
            </a:fld>
            <a:endParaRPr lang="ko-KR" altLang="en-US"/>
          </a:p>
        </p:txBody>
      </p:sp>
      <p:sp>
        <p:nvSpPr>
          <p:cNvPr id="16" name="그림 개체 틀 15">
            <a:extLst>
              <a:ext uri="{FF2B5EF4-FFF2-40B4-BE49-F238E27FC236}">
                <a16:creationId xmlns:a16="http://schemas.microsoft.com/office/drawing/2014/main" id="{2EDF86B3-2343-4DA0-A0B3-05C1F41CCDC0}"/>
              </a:ext>
            </a:extLst>
          </p:cNvPr>
          <p:cNvSpPr>
            <a:spLocks noGrp="1"/>
          </p:cNvSpPr>
          <p:nvPr>
            <p:ph type="pic" sz="quarter" idx="14"/>
          </p:nvPr>
        </p:nvSpPr>
        <p:spPr>
          <a:xfrm>
            <a:off x="219762" y="1"/>
            <a:ext cx="6489046" cy="6857999"/>
          </a:xfrm>
          <a:custGeom>
            <a:avLst/>
            <a:gdLst>
              <a:gd name="connsiteX0" fmla="*/ 3917757 w 6197212"/>
              <a:gd name="connsiteY0" fmla="*/ 2165350 h 6991350"/>
              <a:gd name="connsiteX1" fmla="*/ 6197212 w 6197212"/>
              <a:gd name="connsiteY1" fmla="*/ 2197101 h 6991350"/>
              <a:gd name="connsiteX2" fmla="*/ 4340549 w 6197212"/>
              <a:gd name="connsiteY2" fmla="*/ 6991350 h 6991350"/>
              <a:gd name="connsiteX3" fmla="*/ 1714501 w 6197212"/>
              <a:gd name="connsiteY3" fmla="*/ 6991350 h 6991350"/>
              <a:gd name="connsiteX4" fmla="*/ 3917757 w 6197212"/>
              <a:gd name="connsiteY4" fmla="*/ 2165350 h 6991350"/>
              <a:gd name="connsiteX5" fmla="*/ 2381056 w 6197212"/>
              <a:gd name="connsiteY5" fmla="*/ 0 h 6991350"/>
              <a:gd name="connsiteX6" fmla="*/ 4762111 w 6197212"/>
              <a:gd name="connsiteY6" fmla="*/ 0 h 6991350"/>
              <a:gd name="connsiteX7" fmla="*/ 2626048 w 6197212"/>
              <a:gd name="connsiteY7" fmla="*/ 4660900 h 6991350"/>
              <a:gd name="connsiteX8" fmla="*/ 0 w 6197212"/>
              <a:gd name="connsiteY8" fmla="*/ 4660900 h 6991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97212" h="6991350">
                <a:moveTo>
                  <a:pt x="3917757" y="2165350"/>
                </a:moveTo>
                <a:lnTo>
                  <a:pt x="6197212" y="2197101"/>
                </a:lnTo>
                <a:lnTo>
                  <a:pt x="4340549" y="6991350"/>
                </a:lnTo>
                <a:lnTo>
                  <a:pt x="1714501" y="6991350"/>
                </a:lnTo>
                <a:cubicBezTo>
                  <a:pt x="2508186" y="5437716"/>
                  <a:pt x="3124073" y="3718984"/>
                  <a:pt x="3917757" y="2165350"/>
                </a:cubicBezTo>
                <a:close/>
                <a:moveTo>
                  <a:pt x="2381056" y="0"/>
                </a:moveTo>
                <a:lnTo>
                  <a:pt x="4762111" y="0"/>
                </a:lnTo>
                <a:lnTo>
                  <a:pt x="2626048" y="4660900"/>
                </a:lnTo>
                <a:lnTo>
                  <a:pt x="0" y="4660900"/>
                </a:lnTo>
                <a:close/>
              </a:path>
            </a:pathLst>
          </a:custGeom>
        </p:spPr>
        <p:txBody>
          <a:bodyPr wrap="square">
            <a:noAutofit/>
          </a:bodyPr>
          <a:lstStyle/>
          <a:p>
            <a:endParaRPr lang="ko-KR" altLang="en-US"/>
          </a:p>
        </p:txBody>
      </p:sp>
      <p:sp>
        <p:nvSpPr>
          <p:cNvPr id="7" name="슬라이드 번호 개체 틀 5">
            <a:extLst>
              <a:ext uri="{FF2B5EF4-FFF2-40B4-BE49-F238E27FC236}">
                <a16:creationId xmlns:a16="http://schemas.microsoft.com/office/drawing/2014/main" id="{F85DA8D7-FD82-4903-9F4C-4925342A94FA}"/>
              </a:ext>
            </a:extLst>
          </p:cNvPr>
          <p:cNvSpPr txBox="1">
            <a:spLocks/>
          </p:cNvSpPr>
          <p:nvPr userDrawn="1"/>
        </p:nvSpPr>
        <p:spPr>
          <a:xfrm>
            <a:off x="9304565" y="6356350"/>
            <a:ext cx="2743200" cy="365125"/>
          </a:xfrm>
          <a:prstGeom prst="rect">
            <a:avLst/>
          </a:prstGeom>
        </p:spPr>
        <p:txBody>
          <a:bodyPr vert="horz" lIns="91440" tIns="45720" rIns="91440" bIns="45720" rtlCol="0" anchor="ctr"/>
          <a:lstStyle>
            <a:defPPr>
              <a:defRPr lang="it-I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FF1885-F02A-4FD5-B839-7A201307549F}" type="slidenum">
              <a:rPr lang="ko-KR" altLang="en-US" smtClean="0"/>
              <a:pPr/>
              <a:t>‹N›</a:t>
            </a:fld>
            <a:endParaRPr lang="ko-KR" altLang="en-US"/>
          </a:p>
        </p:txBody>
      </p:sp>
    </p:spTree>
    <p:extLst>
      <p:ext uri="{BB962C8B-B14F-4D97-AF65-F5344CB8AC3E}">
        <p14:creationId xmlns:p14="http://schemas.microsoft.com/office/powerpoint/2010/main" val="4935481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14EBC51-273D-4A7B-B079-1E9740B29A76}"/>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318DFE01-C71B-41CF-89F7-89D5BBD51939}"/>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C733FB9F-1FBD-44BA-B383-3A7135EEFD8B}"/>
              </a:ext>
            </a:extLst>
          </p:cNvPr>
          <p:cNvSpPr>
            <a:spLocks noGrp="1"/>
          </p:cNvSpPr>
          <p:nvPr>
            <p:ph type="dt" sz="half" idx="10"/>
          </p:nvPr>
        </p:nvSpPr>
        <p:spPr>
          <a:xfrm>
            <a:off x="838200" y="6356350"/>
            <a:ext cx="2743200" cy="365125"/>
          </a:xfrm>
          <a:prstGeom prst="rect">
            <a:avLst/>
          </a:prstGeom>
        </p:spPr>
        <p:txBody>
          <a:bodyPr/>
          <a:lstStyle/>
          <a:p>
            <a:fld id="{4C2171CF-8848-4769-A656-C4607813EABF}" type="datetimeFigureOut">
              <a:rPr lang="it-IT" smtClean="0"/>
              <a:t>13/04/2022</a:t>
            </a:fld>
            <a:endParaRPr lang="it-IT"/>
          </a:p>
        </p:txBody>
      </p:sp>
      <p:sp>
        <p:nvSpPr>
          <p:cNvPr id="5" name="Segnaposto piè di pagina 4">
            <a:extLst>
              <a:ext uri="{FF2B5EF4-FFF2-40B4-BE49-F238E27FC236}">
                <a16:creationId xmlns:a16="http://schemas.microsoft.com/office/drawing/2014/main" id="{7E212597-B362-46D0-AD8D-F01C932CE115}"/>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6B67078C-1C02-4BF8-9C51-AEA95513A370}"/>
              </a:ext>
            </a:extLst>
          </p:cNvPr>
          <p:cNvSpPr>
            <a:spLocks noGrp="1"/>
          </p:cNvSpPr>
          <p:nvPr>
            <p:ph type="sldNum" sz="quarter" idx="12"/>
          </p:nvPr>
        </p:nvSpPr>
        <p:spPr/>
        <p:txBody>
          <a:bodyPr/>
          <a:lstStyle/>
          <a:p>
            <a:fld id="{9A74E16A-15CF-4C5F-9279-AF8F569BC825}" type="slidenum">
              <a:rPr lang="it-IT" smtClean="0"/>
              <a:t>‹N›</a:t>
            </a:fld>
            <a:endParaRPr lang="it-IT"/>
          </a:p>
        </p:txBody>
      </p:sp>
    </p:spTree>
    <p:extLst>
      <p:ext uri="{BB962C8B-B14F-4D97-AF65-F5344CB8AC3E}">
        <p14:creationId xmlns:p14="http://schemas.microsoft.com/office/powerpoint/2010/main" val="1072405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E57BA8F-8F95-424C-8BF3-1DE1216781E6}"/>
              </a:ext>
            </a:extLst>
          </p:cNvPr>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5B48DD3A-D19E-4B5F-A415-9C0C66432DF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E4FC14D3-B75D-4A7D-9D27-0178547B1FF5}"/>
              </a:ext>
            </a:extLst>
          </p:cNvPr>
          <p:cNvSpPr>
            <a:spLocks noGrp="1"/>
          </p:cNvSpPr>
          <p:nvPr>
            <p:ph type="dt" sz="half" idx="10"/>
          </p:nvPr>
        </p:nvSpPr>
        <p:spPr>
          <a:xfrm>
            <a:off x="838200" y="6356350"/>
            <a:ext cx="2743200" cy="365125"/>
          </a:xfrm>
          <a:prstGeom prst="rect">
            <a:avLst/>
          </a:prstGeom>
        </p:spPr>
        <p:txBody>
          <a:bodyPr/>
          <a:lstStyle/>
          <a:p>
            <a:fld id="{4C2171CF-8848-4769-A656-C4607813EABF}" type="datetimeFigureOut">
              <a:rPr lang="it-IT" smtClean="0"/>
              <a:t>13/04/2022</a:t>
            </a:fld>
            <a:endParaRPr lang="it-IT"/>
          </a:p>
        </p:txBody>
      </p:sp>
      <p:sp>
        <p:nvSpPr>
          <p:cNvPr id="5" name="Segnaposto piè di pagina 4">
            <a:extLst>
              <a:ext uri="{FF2B5EF4-FFF2-40B4-BE49-F238E27FC236}">
                <a16:creationId xmlns:a16="http://schemas.microsoft.com/office/drawing/2014/main" id="{5638426B-14DD-404B-9037-E7AB41167FDB}"/>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D97CAB24-E1F3-4A2C-8337-69F9904A94C2}"/>
              </a:ext>
            </a:extLst>
          </p:cNvPr>
          <p:cNvSpPr>
            <a:spLocks noGrp="1"/>
          </p:cNvSpPr>
          <p:nvPr>
            <p:ph type="sldNum" sz="quarter" idx="12"/>
          </p:nvPr>
        </p:nvSpPr>
        <p:spPr/>
        <p:txBody>
          <a:bodyPr/>
          <a:lstStyle/>
          <a:p>
            <a:fld id="{9A74E16A-15CF-4C5F-9279-AF8F569BC825}" type="slidenum">
              <a:rPr lang="it-IT" smtClean="0"/>
              <a:t>‹N›</a:t>
            </a:fld>
            <a:endParaRPr lang="it-IT"/>
          </a:p>
        </p:txBody>
      </p:sp>
    </p:spTree>
    <p:extLst>
      <p:ext uri="{BB962C8B-B14F-4D97-AF65-F5344CB8AC3E}">
        <p14:creationId xmlns:p14="http://schemas.microsoft.com/office/powerpoint/2010/main" val="19277643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5C84F17-50AC-4D0C-B7B7-5905D7AF80AA}"/>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A28FB72D-B6C4-4717-BF0C-5151BE38D157}"/>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E5F5F20A-D986-4137-9CE7-0102B294A59A}"/>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7DE5DE20-BB55-4DA6-95CB-FE3A3DF069A4}"/>
              </a:ext>
            </a:extLst>
          </p:cNvPr>
          <p:cNvSpPr>
            <a:spLocks noGrp="1"/>
          </p:cNvSpPr>
          <p:nvPr>
            <p:ph type="dt" sz="half" idx="10"/>
          </p:nvPr>
        </p:nvSpPr>
        <p:spPr>
          <a:xfrm>
            <a:off x="838200" y="6356350"/>
            <a:ext cx="2743200" cy="365125"/>
          </a:xfrm>
          <a:prstGeom prst="rect">
            <a:avLst/>
          </a:prstGeom>
        </p:spPr>
        <p:txBody>
          <a:bodyPr/>
          <a:lstStyle/>
          <a:p>
            <a:fld id="{4C2171CF-8848-4769-A656-C4607813EABF}" type="datetimeFigureOut">
              <a:rPr lang="it-IT" smtClean="0"/>
              <a:t>13/04/2022</a:t>
            </a:fld>
            <a:endParaRPr lang="it-IT"/>
          </a:p>
        </p:txBody>
      </p:sp>
      <p:sp>
        <p:nvSpPr>
          <p:cNvPr id="6" name="Segnaposto piè di pagina 5">
            <a:extLst>
              <a:ext uri="{FF2B5EF4-FFF2-40B4-BE49-F238E27FC236}">
                <a16:creationId xmlns:a16="http://schemas.microsoft.com/office/drawing/2014/main" id="{B4BF78D4-5806-4FE3-BA11-1B241B0C2847}"/>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327E6954-F07E-45FC-AB30-1672AC79D7D9}"/>
              </a:ext>
            </a:extLst>
          </p:cNvPr>
          <p:cNvSpPr>
            <a:spLocks noGrp="1"/>
          </p:cNvSpPr>
          <p:nvPr>
            <p:ph type="sldNum" sz="quarter" idx="12"/>
          </p:nvPr>
        </p:nvSpPr>
        <p:spPr/>
        <p:txBody>
          <a:bodyPr/>
          <a:lstStyle/>
          <a:p>
            <a:fld id="{9A74E16A-15CF-4C5F-9279-AF8F569BC825}" type="slidenum">
              <a:rPr lang="it-IT" smtClean="0"/>
              <a:t>‹N›</a:t>
            </a:fld>
            <a:endParaRPr lang="it-IT"/>
          </a:p>
        </p:txBody>
      </p:sp>
    </p:spTree>
    <p:extLst>
      <p:ext uri="{BB962C8B-B14F-4D97-AF65-F5344CB8AC3E}">
        <p14:creationId xmlns:p14="http://schemas.microsoft.com/office/powerpoint/2010/main" val="34370891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C641A48-A078-4F9C-971F-DCF9DCE92851}"/>
              </a:ext>
            </a:extLst>
          </p:cNvPr>
          <p:cNvSpPr>
            <a:spLocks noGrp="1"/>
          </p:cNvSpPr>
          <p:nvPr>
            <p:ph type="title"/>
          </p:nvPr>
        </p:nvSpPr>
        <p:spPr>
          <a:xfrm>
            <a:off x="839788" y="365125"/>
            <a:ext cx="10515600" cy="1325563"/>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21528276-24E1-466D-869C-0AD91253E4D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60E3314B-2CE6-430B-8B53-4F0E830525AC}"/>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B78B1152-6DED-426C-8565-B9FA2ABF3C2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74C46CA0-BA94-40C9-AB20-B506064899F8}"/>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CCF46C21-EBB1-46D5-B40B-93C894428394}"/>
              </a:ext>
            </a:extLst>
          </p:cNvPr>
          <p:cNvSpPr>
            <a:spLocks noGrp="1"/>
          </p:cNvSpPr>
          <p:nvPr>
            <p:ph type="dt" sz="half" idx="10"/>
          </p:nvPr>
        </p:nvSpPr>
        <p:spPr>
          <a:xfrm>
            <a:off x="838200" y="6356350"/>
            <a:ext cx="2743200" cy="365125"/>
          </a:xfrm>
          <a:prstGeom prst="rect">
            <a:avLst/>
          </a:prstGeom>
        </p:spPr>
        <p:txBody>
          <a:bodyPr/>
          <a:lstStyle/>
          <a:p>
            <a:fld id="{4C2171CF-8848-4769-A656-C4607813EABF}" type="datetimeFigureOut">
              <a:rPr lang="it-IT" smtClean="0"/>
              <a:t>13/04/2022</a:t>
            </a:fld>
            <a:endParaRPr lang="it-IT"/>
          </a:p>
        </p:txBody>
      </p:sp>
      <p:sp>
        <p:nvSpPr>
          <p:cNvPr id="8" name="Segnaposto piè di pagina 7">
            <a:extLst>
              <a:ext uri="{FF2B5EF4-FFF2-40B4-BE49-F238E27FC236}">
                <a16:creationId xmlns:a16="http://schemas.microsoft.com/office/drawing/2014/main" id="{CE1FD70C-1F34-4230-BC38-BB4E1B84ED4C}"/>
              </a:ext>
            </a:extLst>
          </p:cNvPr>
          <p:cNvSpPr>
            <a:spLocks noGrp="1"/>
          </p:cNvSpPr>
          <p:nvPr>
            <p:ph type="ftr" sz="quarter" idx="11"/>
          </p:nvPr>
        </p:nvSpPr>
        <p:spPr/>
        <p:txBody>
          <a:bodyPr/>
          <a:lstStyle/>
          <a:p>
            <a:endParaRPr lang="it-IT" dirty="0"/>
          </a:p>
        </p:txBody>
      </p:sp>
      <p:sp>
        <p:nvSpPr>
          <p:cNvPr id="9" name="Segnaposto numero diapositiva 8">
            <a:extLst>
              <a:ext uri="{FF2B5EF4-FFF2-40B4-BE49-F238E27FC236}">
                <a16:creationId xmlns:a16="http://schemas.microsoft.com/office/drawing/2014/main" id="{176E617A-7807-4403-97C0-6B6F4D8ABF9D}"/>
              </a:ext>
            </a:extLst>
          </p:cNvPr>
          <p:cNvSpPr>
            <a:spLocks noGrp="1"/>
          </p:cNvSpPr>
          <p:nvPr>
            <p:ph type="sldNum" sz="quarter" idx="12"/>
          </p:nvPr>
        </p:nvSpPr>
        <p:spPr/>
        <p:txBody>
          <a:bodyPr/>
          <a:lstStyle/>
          <a:p>
            <a:fld id="{9A74E16A-15CF-4C5F-9279-AF8F569BC825}" type="slidenum">
              <a:rPr lang="it-IT" smtClean="0"/>
              <a:t>‹N›</a:t>
            </a:fld>
            <a:endParaRPr lang="it-IT"/>
          </a:p>
        </p:txBody>
      </p:sp>
    </p:spTree>
    <p:extLst>
      <p:ext uri="{BB962C8B-B14F-4D97-AF65-F5344CB8AC3E}">
        <p14:creationId xmlns:p14="http://schemas.microsoft.com/office/powerpoint/2010/main" val="16241952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4D56A2A-D2F7-4986-810F-6AE964096B25}"/>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BEE56699-1844-4901-A26B-17AD63F0BB32}"/>
              </a:ext>
            </a:extLst>
          </p:cNvPr>
          <p:cNvSpPr>
            <a:spLocks noGrp="1"/>
          </p:cNvSpPr>
          <p:nvPr>
            <p:ph type="dt" sz="half" idx="10"/>
          </p:nvPr>
        </p:nvSpPr>
        <p:spPr>
          <a:xfrm>
            <a:off x="838200" y="6356350"/>
            <a:ext cx="2743200" cy="365125"/>
          </a:xfrm>
          <a:prstGeom prst="rect">
            <a:avLst/>
          </a:prstGeom>
        </p:spPr>
        <p:txBody>
          <a:bodyPr/>
          <a:lstStyle/>
          <a:p>
            <a:fld id="{4C2171CF-8848-4769-A656-C4607813EABF}" type="datetimeFigureOut">
              <a:rPr lang="it-IT" smtClean="0"/>
              <a:t>13/04/2022</a:t>
            </a:fld>
            <a:endParaRPr lang="it-IT"/>
          </a:p>
        </p:txBody>
      </p:sp>
      <p:sp>
        <p:nvSpPr>
          <p:cNvPr id="4" name="Segnaposto piè di pagina 3">
            <a:extLst>
              <a:ext uri="{FF2B5EF4-FFF2-40B4-BE49-F238E27FC236}">
                <a16:creationId xmlns:a16="http://schemas.microsoft.com/office/drawing/2014/main" id="{45A53E14-E451-4870-B1C2-0A91077D02C7}"/>
              </a:ext>
            </a:extLst>
          </p:cNvPr>
          <p:cNvSpPr>
            <a:spLocks noGrp="1"/>
          </p:cNvSpPr>
          <p:nvPr>
            <p:ph type="ftr" sz="quarter" idx="11"/>
          </p:nvPr>
        </p:nvSpPr>
        <p:spPr/>
        <p:txBody>
          <a:bodyPr/>
          <a:lstStyle/>
          <a:p>
            <a:endParaRPr lang="it-IT"/>
          </a:p>
        </p:txBody>
      </p:sp>
      <p:sp>
        <p:nvSpPr>
          <p:cNvPr id="5" name="Segnaposto numero diapositiva 4">
            <a:extLst>
              <a:ext uri="{FF2B5EF4-FFF2-40B4-BE49-F238E27FC236}">
                <a16:creationId xmlns:a16="http://schemas.microsoft.com/office/drawing/2014/main" id="{0F9C2DB0-8F0E-427E-B964-6510941DA43C}"/>
              </a:ext>
            </a:extLst>
          </p:cNvPr>
          <p:cNvSpPr>
            <a:spLocks noGrp="1"/>
          </p:cNvSpPr>
          <p:nvPr>
            <p:ph type="sldNum" sz="quarter" idx="12"/>
          </p:nvPr>
        </p:nvSpPr>
        <p:spPr/>
        <p:txBody>
          <a:bodyPr/>
          <a:lstStyle/>
          <a:p>
            <a:fld id="{9A74E16A-15CF-4C5F-9279-AF8F569BC825}" type="slidenum">
              <a:rPr lang="it-IT" smtClean="0"/>
              <a:t>‹N›</a:t>
            </a:fld>
            <a:endParaRPr lang="it-IT"/>
          </a:p>
        </p:txBody>
      </p:sp>
    </p:spTree>
    <p:extLst>
      <p:ext uri="{BB962C8B-B14F-4D97-AF65-F5344CB8AC3E}">
        <p14:creationId xmlns:p14="http://schemas.microsoft.com/office/powerpoint/2010/main" val="23087150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5E293FE-82F1-4AA9-9C9B-77002A47C49A}"/>
              </a:ext>
            </a:extLst>
          </p:cNvPr>
          <p:cNvSpPr>
            <a:spLocks noGrp="1"/>
          </p:cNvSpPr>
          <p:nvPr>
            <p:ph type="dt" sz="half" idx="10"/>
          </p:nvPr>
        </p:nvSpPr>
        <p:spPr>
          <a:xfrm>
            <a:off x="838200" y="6356350"/>
            <a:ext cx="2743200" cy="365125"/>
          </a:xfrm>
          <a:prstGeom prst="rect">
            <a:avLst/>
          </a:prstGeom>
        </p:spPr>
        <p:txBody>
          <a:bodyPr/>
          <a:lstStyle/>
          <a:p>
            <a:fld id="{4C2171CF-8848-4769-A656-C4607813EABF}" type="datetimeFigureOut">
              <a:rPr lang="it-IT" smtClean="0"/>
              <a:t>13/04/2022</a:t>
            </a:fld>
            <a:endParaRPr lang="it-IT"/>
          </a:p>
        </p:txBody>
      </p:sp>
      <p:sp>
        <p:nvSpPr>
          <p:cNvPr id="3" name="Segnaposto piè di pagina 2">
            <a:extLst>
              <a:ext uri="{FF2B5EF4-FFF2-40B4-BE49-F238E27FC236}">
                <a16:creationId xmlns:a16="http://schemas.microsoft.com/office/drawing/2014/main" id="{B93CC388-07DB-49C5-9D53-8BA24437DCFA}"/>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EA99575C-33E3-4E4C-9167-3F9304A19811}"/>
              </a:ext>
            </a:extLst>
          </p:cNvPr>
          <p:cNvSpPr>
            <a:spLocks noGrp="1"/>
          </p:cNvSpPr>
          <p:nvPr>
            <p:ph type="sldNum" sz="quarter" idx="12"/>
          </p:nvPr>
        </p:nvSpPr>
        <p:spPr/>
        <p:txBody>
          <a:bodyPr/>
          <a:lstStyle/>
          <a:p>
            <a:fld id="{9A74E16A-15CF-4C5F-9279-AF8F569BC825}" type="slidenum">
              <a:rPr lang="it-IT" smtClean="0"/>
              <a:t>‹N›</a:t>
            </a:fld>
            <a:endParaRPr lang="it-IT"/>
          </a:p>
        </p:txBody>
      </p:sp>
    </p:spTree>
    <p:extLst>
      <p:ext uri="{BB962C8B-B14F-4D97-AF65-F5344CB8AC3E}">
        <p14:creationId xmlns:p14="http://schemas.microsoft.com/office/powerpoint/2010/main" val="7565300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E285EEC-D3BC-4308-B4D9-8CCD31C69EDD}"/>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E27A7238-ACE6-42DC-B6C7-01E45C9F926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B84EBEFB-9230-42D2-A6AA-B4CB09C031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526AA026-7793-47CD-A0CD-439228631131}"/>
              </a:ext>
            </a:extLst>
          </p:cNvPr>
          <p:cNvSpPr>
            <a:spLocks noGrp="1"/>
          </p:cNvSpPr>
          <p:nvPr>
            <p:ph type="dt" sz="half" idx="10"/>
          </p:nvPr>
        </p:nvSpPr>
        <p:spPr>
          <a:xfrm>
            <a:off x="838200" y="6356350"/>
            <a:ext cx="2743200" cy="365125"/>
          </a:xfrm>
          <a:prstGeom prst="rect">
            <a:avLst/>
          </a:prstGeom>
        </p:spPr>
        <p:txBody>
          <a:bodyPr/>
          <a:lstStyle/>
          <a:p>
            <a:fld id="{4C2171CF-8848-4769-A656-C4607813EABF}" type="datetimeFigureOut">
              <a:rPr lang="it-IT" smtClean="0"/>
              <a:t>13/04/2022</a:t>
            </a:fld>
            <a:endParaRPr lang="it-IT"/>
          </a:p>
        </p:txBody>
      </p:sp>
      <p:sp>
        <p:nvSpPr>
          <p:cNvPr id="6" name="Segnaposto piè di pagina 5">
            <a:extLst>
              <a:ext uri="{FF2B5EF4-FFF2-40B4-BE49-F238E27FC236}">
                <a16:creationId xmlns:a16="http://schemas.microsoft.com/office/drawing/2014/main" id="{416D6058-D2B1-4D46-B32A-64C4A9A660E4}"/>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7B1488BB-0DA1-446B-B324-DEE44D9ED417}"/>
              </a:ext>
            </a:extLst>
          </p:cNvPr>
          <p:cNvSpPr>
            <a:spLocks noGrp="1"/>
          </p:cNvSpPr>
          <p:nvPr>
            <p:ph type="sldNum" sz="quarter" idx="12"/>
          </p:nvPr>
        </p:nvSpPr>
        <p:spPr/>
        <p:txBody>
          <a:bodyPr/>
          <a:lstStyle/>
          <a:p>
            <a:fld id="{9A74E16A-15CF-4C5F-9279-AF8F569BC825}" type="slidenum">
              <a:rPr lang="it-IT" smtClean="0"/>
              <a:t>‹N›</a:t>
            </a:fld>
            <a:endParaRPr lang="it-IT"/>
          </a:p>
        </p:txBody>
      </p:sp>
    </p:spTree>
    <p:extLst>
      <p:ext uri="{BB962C8B-B14F-4D97-AF65-F5344CB8AC3E}">
        <p14:creationId xmlns:p14="http://schemas.microsoft.com/office/powerpoint/2010/main" val="22351442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DBF0C56-5E11-43F6-A170-E511E56539DC}"/>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F7CB015D-DD44-4CCA-AF9F-958218DF8FD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434E98CB-500C-45AE-B387-864918631F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466BF97E-5345-4C08-8F9D-2C286E839425}"/>
              </a:ext>
            </a:extLst>
          </p:cNvPr>
          <p:cNvSpPr>
            <a:spLocks noGrp="1"/>
          </p:cNvSpPr>
          <p:nvPr>
            <p:ph type="dt" sz="half" idx="10"/>
          </p:nvPr>
        </p:nvSpPr>
        <p:spPr>
          <a:xfrm>
            <a:off x="838200" y="6356350"/>
            <a:ext cx="2743200" cy="365125"/>
          </a:xfrm>
          <a:prstGeom prst="rect">
            <a:avLst/>
          </a:prstGeom>
        </p:spPr>
        <p:txBody>
          <a:bodyPr/>
          <a:lstStyle/>
          <a:p>
            <a:fld id="{4C2171CF-8848-4769-A656-C4607813EABF}" type="datetimeFigureOut">
              <a:rPr lang="it-IT" smtClean="0"/>
              <a:t>13/04/2022</a:t>
            </a:fld>
            <a:endParaRPr lang="it-IT"/>
          </a:p>
        </p:txBody>
      </p:sp>
      <p:sp>
        <p:nvSpPr>
          <p:cNvPr id="6" name="Segnaposto piè di pagina 5">
            <a:extLst>
              <a:ext uri="{FF2B5EF4-FFF2-40B4-BE49-F238E27FC236}">
                <a16:creationId xmlns:a16="http://schemas.microsoft.com/office/drawing/2014/main" id="{C23A8172-1B50-4CB6-81FA-C589EA376CDF}"/>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113752A5-35F6-4B3F-9281-8FACC376DFBE}"/>
              </a:ext>
            </a:extLst>
          </p:cNvPr>
          <p:cNvSpPr>
            <a:spLocks noGrp="1"/>
          </p:cNvSpPr>
          <p:nvPr>
            <p:ph type="sldNum" sz="quarter" idx="12"/>
          </p:nvPr>
        </p:nvSpPr>
        <p:spPr/>
        <p:txBody>
          <a:bodyPr/>
          <a:lstStyle/>
          <a:p>
            <a:fld id="{9A74E16A-15CF-4C5F-9279-AF8F569BC825}" type="slidenum">
              <a:rPr lang="it-IT" smtClean="0"/>
              <a:t>‹N›</a:t>
            </a:fld>
            <a:endParaRPr lang="it-IT"/>
          </a:p>
        </p:txBody>
      </p:sp>
    </p:spTree>
    <p:extLst>
      <p:ext uri="{BB962C8B-B14F-4D97-AF65-F5344CB8AC3E}">
        <p14:creationId xmlns:p14="http://schemas.microsoft.com/office/powerpoint/2010/main" val="32710142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ggetto 7" hidden="1">
            <a:extLst>
              <a:ext uri="{FF2B5EF4-FFF2-40B4-BE49-F238E27FC236}">
                <a16:creationId xmlns:a16="http://schemas.microsoft.com/office/drawing/2014/main" id="{C042D4A3-3ED6-454B-8C63-F08A77AFA9AC}"/>
              </a:ext>
            </a:extLst>
          </p:cNvPr>
          <p:cNvGraphicFramePr>
            <a:graphicFrameLocks noChangeAspect="1"/>
          </p:cNvGraphicFramePr>
          <p:nvPr userDrawn="1">
            <p:custDataLst>
              <p:tags r:id="rId16"/>
            </p:custDataLst>
            <p:extLst>
              <p:ext uri="{D42A27DB-BD31-4B8C-83A1-F6EECF244321}">
                <p14:modId xmlns:p14="http://schemas.microsoft.com/office/powerpoint/2010/main" val="451351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 name="Diapositiva think-cell" r:id="rId17" imgW="499" imgH="499" progId="TCLayout.ActiveDocument.1">
                  <p:embed/>
                </p:oleObj>
              </mc:Choice>
              <mc:Fallback>
                <p:oleObj name="Diapositiva think-cell" r:id="rId17" imgW="499" imgH="499" progId="TCLayout.ActiveDocument.1">
                  <p:embed/>
                  <p:pic>
                    <p:nvPicPr>
                      <p:cNvPr id="8" name="Oggetto 7" hidden="1">
                        <a:extLst>
                          <a:ext uri="{FF2B5EF4-FFF2-40B4-BE49-F238E27FC236}">
                            <a16:creationId xmlns:a16="http://schemas.microsoft.com/office/drawing/2014/main" id="{C042D4A3-3ED6-454B-8C63-F08A77AFA9A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Segnaposto titolo 1">
            <a:extLst>
              <a:ext uri="{FF2B5EF4-FFF2-40B4-BE49-F238E27FC236}">
                <a16:creationId xmlns:a16="http://schemas.microsoft.com/office/drawing/2014/main" id="{79D8AFA4-6552-4C8E-BF80-6FD63BAE3C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FE09A54D-7A7D-4FD3-A180-3A3657D17A1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piè di pagina 4">
            <a:extLst>
              <a:ext uri="{FF2B5EF4-FFF2-40B4-BE49-F238E27FC236}">
                <a16:creationId xmlns:a16="http://schemas.microsoft.com/office/drawing/2014/main" id="{F9A0AC1D-035E-40CE-93E5-A8608CE164D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E36C8840-B908-4A65-98A4-B3E8EE1E6AA2}"/>
              </a:ext>
            </a:extLst>
          </p:cNvPr>
          <p:cNvSpPr>
            <a:spLocks noGrp="1"/>
          </p:cNvSpPr>
          <p:nvPr>
            <p:ph type="sldNum" sz="quarter" idx="4"/>
          </p:nvPr>
        </p:nvSpPr>
        <p:spPr>
          <a:xfrm>
            <a:off x="212324"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A74E16A-15CF-4C5F-9279-AF8F569BC825}" type="slidenum">
              <a:rPr lang="it-IT" smtClean="0"/>
              <a:pPr/>
              <a:t>‹N›</a:t>
            </a:fld>
            <a:endParaRPr lang="it-IT"/>
          </a:p>
        </p:txBody>
      </p:sp>
      <p:pic>
        <p:nvPicPr>
          <p:cNvPr id="9" name="Immagine 8">
            <a:extLst>
              <a:ext uri="{FF2B5EF4-FFF2-40B4-BE49-F238E27FC236}">
                <a16:creationId xmlns:a16="http://schemas.microsoft.com/office/drawing/2014/main" id="{14084178-2008-4271-A9A8-0EEA527FD4A9}"/>
              </a:ext>
            </a:extLst>
          </p:cNvPr>
          <p:cNvPicPr>
            <a:picLocks noChangeAspect="1"/>
          </p:cNvPicPr>
          <p:nvPr userDrawn="1"/>
        </p:nvPicPr>
        <p:blipFill>
          <a:blip r:embed="rId19" cstate="email">
            <a:extLst>
              <a:ext uri="{28A0092B-C50C-407E-A947-70E740481C1C}">
                <a14:useLocalDpi xmlns:a14="http://schemas.microsoft.com/office/drawing/2010/main" val="0"/>
              </a:ext>
            </a:extLst>
          </a:blip>
          <a:stretch>
            <a:fillRect/>
          </a:stretch>
        </p:blipFill>
        <p:spPr>
          <a:xfrm>
            <a:off x="-3464" y="-74799"/>
            <a:ext cx="1478581" cy="494400"/>
          </a:xfrm>
          <a:prstGeom prst="rect">
            <a:avLst/>
          </a:prstGeom>
        </p:spPr>
      </p:pic>
      <p:sp>
        <p:nvSpPr>
          <p:cNvPr id="10" name="슬라이드 번호 개체 틀 5">
            <a:extLst>
              <a:ext uri="{FF2B5EF4-FFF2-40B4-BE49-F238E27FC236}">
                <a16:creationId xmlns:a16="http://schemas.microsoft.com/office/drawing/2014/main" id="{1E03815D-AC89-450E-B14E-592663A78453}"/>
              </a:ext>
            </a:extLst>
          </p:cNvPr>
          <p:cNvSpPr txBox="1">
            <a:spLocks/>
          </p:cNvSpPr>
          <p:nvPr userDrawn="1"/>
        </p:nvSpPr>
        <p:spPr>
          <a:xfrm>
            <a:off x="9304565" y="6356350"/>
            <a:ext cx="2743200" cy="365125"/>
          </a:xfrm>
          <a:prstGeom prst="rect">
            <a:avLst/>
          </a:prstGeom>
        </p:spPr>
        <p:txBody>
          <a:bodyPr vert="horz" lIns="91440" tIns="45720" rIns="91440" bIns="45720" rtlCol="0" anchor="ctr"/>
          <a:lstStyle>
            <a:defPPr>
              <a:defRPr lang="it-I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FF1885-F02A-4FD5-B839-7A201307549F}" type="slidenum">
              <a:rPr lang="ko-KR" altLang="en-US" smtClean="0"/>
              <a:pPr/>
              <a:t>‹N›</a:t>
            </a:fld>
            <a:endParaRPr lang="ko-KR" altLang="en-US"/>
          </a:p>
        </p:txBody>
      </p:sp>
    </p:spTree>
    <p:extLst>
      <p:ext uri="{BB962C8B-B14F-4D97-AF65-F5344CB8AC3E}">
        <p14:creationId xmlns:p14="http://schemas.microsoft.com/office/powerpoint/2010/main" val="358825233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7"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23.svg"/><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14.svg"/></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34.jpeg"/></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1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38.png"/><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40.png"/><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5.PNG"/><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43.emf"/><Relationship Id="rId4" Type="http://schemas.openxmlformats.org/officeDocument/2006/relationships/image" Target="../media/image42.png"/></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2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8.sv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9.emf"/><Relationship Id="rId4" Type="http://schemas.openxmlformats.org/officeDocument/2006/relationships/image" Target="../media/image8.svg"/></Relationships>
</file>

<file path=ppt/slides/_rels/slide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8.sv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11.svg"/></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emf"/><Relationship Id="rId7" Type="http://schemas.openxmlformats.org/officeDocument/2006/relationships/image" Target="../media/image16.sv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 Id="rId9" Type="http://schemas.openxmlformats.org/officeDocument/2006/relationships/image" Target="../media/image18.svg"/></Relationships>
</file>

<file path=ppt/slides/_rels/slide8.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14.sv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4.sv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4AFA16DC-EB7A-4FC5-A9D2-70B5D1D1173C}"/>
              </a:ext>
            </a:extLst>
          </p:cNvPr>
          <p:cNvPicPr>
            <a:picLocks noChangeAspect="1"/>
          </p:cNvPicPr>
          <p:nvPr/>
        </p:nvPicPr>
        <p:blipFill rotWithShape="1">
          <a:blip r:embed="rId3">
            <a:alphaModFix amt="30000"/>
          </a:blip>
          <a:srcRect b="16040"/>
          <a:stretch/>
        </p:blipFill>
        <p:spPr>
          <a:xfrm>
            <a:off x="-16742" y="-2333"/>
            <a:ext cx="12208741" cy="6879113"/>
          </a:xfrm>
          <a:prstGeom prst="rect">
            <a:avLst/>
          </a:prstGeom>
        </p:spPr>
      </p:pic>
      <p:sp>
        <p:nvSpPr>
          <p:cNvPr id="11" name="Titolo">
            <a:extLst>
              <a:ext uri="{FF2B5EF4-FFF2-40B4-BE49-F238E27FC236}">
                <a16:creationId xmlns:a16="http://schemas.microsoft.com/office/drawing/2014/main" id="{CB3EB1BB-2088-404C-BF89-1D0DC2B84C13}"/>
              </a:ext>
            </a:extLst>
          </p:cNvPr>
          <p:cNvSpPr txBox="1">
            <a:spLocks/>
          </p:cNvSpPr>
          <p:nvPr/>
        </p:nvSpPr>
        <p:spPr>
          <a:xfrm>
            <a:off x="9726573" y="10583675"/>
            <a:ext cx="13442321" cy="236641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Autofit/>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4D4E4C"/>
                </a:solidFill>
                <a:uFillTx/>
                <a:latin typeface="Univers LT Std 55 Roman"/>
                <a:ea typeface="Univers LT Std 55 Roman"/>
                <a:cs typeface="Univers LT Std 55 Roman"/>
                <a:sym typeface="Univers LT Std 55 Roman"/>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Neue Medium"/>
              </a:defRPr>
            </a:lvl9pPr>
          </a:lstStyle>
          <a:p>
            <a:pPr algn="l" hangingPunct="1"/>
            <a:endParaRPr lang="it-IT" sz="3600" b="1" dirty="0">
              <a:solidFill>
                <a:schemeClr val="bg1"/>
              </a:solidFill>
              <a:effectLst>
                <a:outerShdw blurRad="38100" dist="38100" dir="2700000" algn="tl">
                  <a:srgbClr val="000000">
                    <a:alpha val="43137"/>
                  </a:srgbClr>
                </a:outerShdw>
              </a:effectLst>
              <a:latin typeface="Univers Condensed" panose="020B0506020202050204" pitchFamily="34" charset="0"/>
            </a:endParaRPr>
          </a:p>
        </p:txBody>
      </p:sp>
      <p:sp>
        <p:nvSpPr>
          <p:cNvPr id="9" name="Rettangolo 8"/>
          <p:cNvSpPr/>
          <p:nvPr/>
        </p:nvSpPr>
        <p:spPr>
          <a:xfrm>
            <a:off x="4700329" y="4628295"/>
            <a:ext cx="7268307" cy="1569660"/>
          </a:xfrm>
          <a:prstGeom prst="rect">
            <a:avLst/>
          </a:prstGeom>
        </p:spPr>
        <p:txBody>
          <a:bodyPr wrap="square">
            <a:spAutoFit/>
          </a:bodyPr>
          <a:lstStyle/>
          <a:p>
            <a:r>
              <a:rPr lang="it-IT" sz="3600" b="1" dirty="0">
                <a:solidFill>
                  <a:srgbClr val="005E9B"/>
                </a:solidFill>
                <a:latin typeface="Univers" panose="020B0503020202020204" pitchFamily="34" charset="0"/>
                <a:cs typeface="Gotham Medium" pitchFamily="50" charset="0"/>
              </a:rPr>
              <a:t>INIZIATIVE SPECIALI GENOVESI</a:t>
            </a:r>
          </a:p>
          <a:p>
            <a:r>
              <a:rPr lang="it-IT" sz="2000" b="1" dirty="0">
                <a:solidFill>
                  <a:srgbClr val="005E9B"/>
                </a:solidFill>
                <a:latin typeface="Univers" panose="020B0503020202020204" pitchFamily="34" charset="0"/>
                <a:cs typeface="Gotham Medium" pitchFamily="50" charset="0"/>
              </a:rPr>
              <a:t>                      </a:t>
            </a:r>
          </a:p>
          <a:p>
            <a:pPr algn="r"/>
            <a:r>
              <a:rPr lang="it-IT" sz="2000" b="1" dirty="0">
                <a:solidFill>
                  <a:srgbClr val="005E9B"/>
                </a:solidFill>
                <a:latin typeface="Univers" panose="020B0503020202020204" pitchFamily="34" charset="0"/>
                <a:cs typeface="Gotham Medium" pitchFamily="50" charset="0"/>
              </a:rPr>
              <a:t>                     COLLEGAMENTO VAL FONTANABUONA </a:t>
            </a:r>
            <a:r>
              <a:rPr lang="it-IT" sz="2000" b="1">
                <a:solidFill>
                  <a:srgbClr val="005E9B"/>
                </a:solidFill>
                <a:latin typeface="Univers" panose="020B0503020202020204" pitchFamily="34" charset="0"/>
                <a:cs typeface="Gotham Medium" pitchFamily="50" charset="0"/>
              </a:rPr>
              <a:t>AUTOSTRADA A12</a:t>
            </a:r>
            <a:endParaRPr lang="it-IT" sz="2000" b="1" dirty="0">
              <a:solidFill>
                <a:srgbClr val="005E9B"/>
              </a:solidFill>
              <a:latin typeface="Univers" panose="020B0503020202020204" pitchFamily="34" charset="0"/>
              <a:cs typeface="Gotham Medium" pitchFamily="50" charset="0"/>
            </a:endParaRPr>
          </a:p>
        </p:txBody>
      </p:sp>
      <p:sp>
        <p:nvSpPr>
          <p:cNvPr id="18" name="평행 사변형 5">
            <a:extLst>
              <a:ext uri="{FF2B5EF4-FFF2-40B4-BE49-F238E27FC236}">
                <a16:creationId xmlns:a16="http://schemas.microsoft.com/office/drawing/2014/main" id="{A7DD68DF-2977-428F-9765-569559CC07CB}"/>
              </a:ext>
            </a:extLst>
          </p:cNvPr>
          <p:cNvSpPr/>
          <p:nvPr/>
        </p:nvSpPr>
        <p:spPr>
          <a:xfrm>
            <a:off x="-16741" y="-21113"/>
            <a:ext cx="3394472" cy="6879113"/>
          </a:xfrm>
          <a:prstGeom prst="parallelogram">
            <a:avLst>
              <a:gd name="adj" fmla="val 71564"/>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19" name="평행 사변형 5">
            <a:extLst>
              <a:ext uri="{FF2B5EF4-FFF2-40B4-BE49-F238E27FC236}">
                <a16:creationId xmlns:a16="http://schemas.microsoft.com/office/drawing/2014/main" id="{24EF5633-4941-4BD4-B9EF-2A00EBA05F70}"/>
              </a:ext>
            </a:extLst>
          </p:cNvPr>
          <p:cNvSpPr/>
          <p:nvPr/>
        </p:nvSpPr>
        <p:spPr>
          <a:xfrm>
            <a:off x="1082494" y="-11839"/>
            <a:ext cx="3394472" cy="6869839"/>
          </a:xfrm>
          <a:prstGeom prst="parallelogram">
            <a:avLst>
              <a:gd name="adj" fmla="val 71564"/>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13" name="Rettangolo 12">
            <a:extLst>
              <a:ext uri="{FF2B5EF4-FFF2-40B4-BE49-F238E27FC236}">
                <a16:creationId xmlns:a16="http://schemas.microsoft.com/office/drawing/2014/main" id="{0154BE46-FC62-4E68-B9B8-218113182500}"/>
              </a:ext>
            </a:extLst>
          </p:cNvPr>
          <p:cNvSpPr/>
          <p:nvPr/>
        </p:nvSpPr>
        <p:spPr>
          <a:xfrm>
            <a:off x="5286752" y="6383479"/>
            <a:ext cx="6686550" cy="307777"/>
          </a:xfrm>
          <a:prstGeom prst="rect">
            <a:avLst/>
          </a:prstGeom>
        </p:spPr>
        <p:txBody>
          <a:bodyPr wrap="square">
            <a:spAutoFit/>
          </a:bodyPr>
          <a:lstStyle/>
          <a:p>
            <a:pPr algn="r"/>
            <a:r>
              <a:rPr lang="it-IT" sz="1400" b="1" dirty="0">
                <a:solidFill>
                  <a:srgbClr val="0065A4"/>
                </a:solidFill>
                <a:latin typeface="Univers" panose="020B0503020202020204" pitchFamily="34" charset="0"/>
                <a:cs typeface="Gotham Medium" pitchFamily="50" charset="0"/>
              </a:rPr>
              <a:t>APRILE 2022</a:t>
            </a:r>
          </a:p>
        </p:txBody>
      </p:sp>
      <p:pic>
        <p:nvPicPr>
          <p:cNvPr id="20" name="Picture 2">
            <a:extLst>
              <a:ext uri="{FF2B5EF4-FFF2-40B4-BE49-F238E27FC236}">
                <a16:creationId xmlns:a16="http://schemas.microsoft.com/office/drawing/2014/main" id="{DFBE5B1D-CCA3-49B5-BAC0-26FE111AFA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1839"/>
            <a:ext cx="4943475" cy="1143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46670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uppo 8">
            <a:extLst>
              <a:ext uri="{FF2B5EF4-FFF2-40B4-BE49-F238E27FC236}">
                <a16:creationId xmlns:a16="http://schemas.microsoft.com/office/drawing/2014/main" id="{BA584160-47A2-4186-99A4-49BB9CBB8BD4}"/>
              </a:ext>
            </a:extLst>
          </p:cNvPr>
          <p:cNvGrpSpPr/>
          <p:nvPr/>
        </p:nvGrpSpPr>
        <p:grpSpPr>
          <a:xfrm>
            <a:off x="4311962" y="1786351"/>
            <a:ext cx="7582754" cy="4513092"/>
            <a:chOff x="4311962" y="1786351"/>
            <a:chExt cx="7582754" cy="4513092"/>
          </a:xfrm>
        </p:grpSpPr>
        <p:pic>
          <p:nvPicPr>
            <p:cNvPr id="11" name="Immagine 12" descr="ORTOFOTO Soluzione D_2.jpg">
              <a:extLst>
                <a:ext uri="{FF2B5EF4-FFF2-40B4-BE49-F238E27FC236}">
                  <a16:creationId xmlns:a16="http://schemas.microsoft.com/office/drawing/2014/main" id="{4A57ADEA-0497-4E28-8F4F-B5E0F7669B61}"/>
                </a:ext>
              </a:extLst>
            </p:cNvPr>
            <p:cNvPicPr>
              <a:picLocks noChangeAspect="1"/>
            </p:cNvPicPr>
            <p:nvPr/>
          </p:nvPicPr>
          <p:blipFill rotWithShape="1">
            <a:blip r:embed="rId3">
              <a:extLst>
                <a:ext uri="{28A0092B-C50C-407E-A947-70E740481C1C}">
                  <a14:useLocalDpi xmlns:a14="http://schemas.microsoft.com/office/drawing/2010/main" val="0"/>
                </a:ext>
              </a:extLst>
            </a:blip>
            <a:srcRect l="7724" t="2953" r="30425" b="35829"/>
            <a:stretch/>
          </p:blipFill>
          <p:spPr bwMode="auto">
            <a:xfrm>
              <a:off x="4311962" y="1786351"/>
              <a:ext cx="7582754" cy="4513092"/>
            </a:xfrm>
            <a:prstGeom prst="rect">
              <a:avLst/>
            </a:prstGeom>
            <a:solidFill>
              <a:schemeClr val="bg1"/>
            </a:solidFill>
            <a:ln w="9525">
              <a:solidFill>
                <a:srgbClr val="000000"/>
              </a:solidFill>
              <a:miter lim="800000"/>
              <a:headEnd/>
              <a:tailEnd/>
            </a:ln>
          </p:spPr>
        </p:pic>
        <p:sp>
          <p:nvSpPr>
            <p:cNvPr id="7" name="Rettangolo 6">
              <a:extLst>
                <a:ext uri="{FF2B5EF4-FFF2-40B4-BE49-F238E27FC236}">
                  <a16:creationId xmlns:a16="http://schemas.microsoft.com/office/drawing/2014/main" id="{FE413025-0E29-4BB7-A572-42DD824168C5}"/>
                </a:ext>
              </a:extLst>
            </p:cNvPr>
            <p:cNvSpPr/>
            <p:nvPr/>
          </p:nvSpPr>
          <p:spPr>
            <a:xfrm>
              <a:off x="11425382" y="5178521"/>
              <a:ext cx="45719" cy="55418"/>
            </a:xfrm>
            <a:prstGeom prst="rect">
              <a:avLst/>
            </a:prstGeom>
            <a:solidFill>
              <a:srgbClr val="283E3C"/>
            </a:solidFill>
            <a:ln>
              <a:solidFill>
                <a:srgbClr val="283E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bg1"/>
                </a:solidFill>
              </a:endParaRPr>
            </a:p>
          </p:txBody>
        </p:sp>
      </p:grpSp>
      <p:grpSp>
        <p:nvGrpSpPr>
          <p:cNvPr id="10" name="Gruppo 9">
            <a:extLst>
              <a:ext uri="{FF2B5EF4-FFF2-40B4-BE49-F238E27FC236}">
                <a16:creationId xmlns:a16="http://schemas.microsoft.com/office/drawing/2014/main" id="{EE05873F-5E31-4920-AAB9-4D3DC1E10BE0}"/>
              </a:ext>
            </a:extLst>
          </p:cNvPr>
          <p:cNvGrpSpPr/>
          <p:nvPr/>
        </p:nvGrpSpPr>
        <p:grpSpPr>
          <a:xfrm>
            <a:off x="452658" y="1023267"/>
            <a:ext cx="540000" cy="540000"/>
            <a:chOff x="7500677" y="-137051"/>
            <a:chExt cx="540000" cy="540000"/>
          </a:xfrm>
        </p:grpSpPr>
        <p:sp>
          <p:nvSpPr>
            <p:cNvPr id="12" name="Ovale 11">
              <a:extLst>
                <a:ext uri="{FF2B5EF4-FFF2-40B4-BE49-F238E27FC236}">
                  <a16:creationId xmlns:a16="http://schemas.microsoft.com/office/drawing/2014/main" id="{3EF1788F-1140-486E-AE19-0F54157B2B95}"/>
                </a:ext>
              </a:extLst>
            </p:cNvPr>
            <p:cNvSpPr/>
            <p:nvPr/>
          </p:nvSpPr>
          <p:spPr>
            <a:xfrm>
              <a:off x="7500677" y="-137051"/>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13" name="Elemento grafico 12" descr="Brainstorming contorno">
              <a:extLst>
                <a:ext uri="{FF2B5EF4-FFF2-40B4-BE49-F238E27FC236}">
                  <a16:creationId xmlns:a16="http://schemas.microsoft.com/office/drawing/2014/main" id="{F6AEDB1B-CC88-4828-9142-71F991EC039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64457" y="-89839"/>
              <a:ext cx="466344" cy="466344"/>
            </a:xfrm>
            <a:prstGeom prst="rect">
              <a:avLst/>
            </a:prstGeom>
          </p:spPr>
        </p:pic>
      </p:grpSp>
      <p:sp>
        <p:nvSpPr>
          <p:cNvPr id="5" name="Segnaposto testo 8">
            <a:extLst>
              <a:ext uri="{FF2B5EF4-FFF2-40B4-BE49-F238E27FC236}">
                <a16:creationId xmlns:a16="http://schemas.microsoft.com/office/drawing/2014/main" id="{159E0B95-1159-47B6-93D4-DD9555426108}"/>
              </a:ext>
            </a:extLst>
          </p:cNvPr>
          <p:cNvSpPr txBox="1">
            <a:spLocks/>
          </p:cNvSpPr>
          <p:nvPr/>
        </p:nvSpPr>
        <p:spPr>
          <a:xfrm>
            <a:off x="1022382" y="1093910"/>
            <a:ext cx="5073618" cy="424056"/>
          </a:xfrm>
          <a:prstGeom prst="rect">
            <a:avLst/>
          </a:prstGeom>
        </p:spPr>
        <p:txBody>
          <a:bodyPr vert="horz" lIns="91440" tIns="45720" rIns="91440" bIns="45720" rtlCol="0" anchor="b">
            <a:no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La soluzione progettuale</a:t>
            </a:r>
          </a:p>
        </p:txBody>
      </p:sp>
      <p:sp>
        <p:nvSpPr>
          <p:cNvPr id="6" name="Segnaposto contenuto 2">
            <a:extLst>
              <a:ext uri="{FF2B5EF4-FFF2-40B4-BE49-F238E27FC236}">
                <a16:creationId xmlns:a16="http://schemas.microsoft.com/office/drawing/2014/main" id="{1B522F23-A424-4F12-8F10-3D071758CE37}"/>
              </a:ext>
            </a:extLst>
          </p:cNvPr>
          <p:cNvSpPr txBox="1">
            <a:spLocks/>
          </p:cNvSpPr>
          <p:nvPr/>
        </p:nvSpPr>
        <p:spPr>
          <a:xfrm>
            <a:off x="452931" y="1662281"/>
            <a:ext cx="3787035" cy="458852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just" defTabSz="732656">
              <a:lnSpc>
                <a:spcPct val="150000"/>
              </a:lnSpc>
              <a:spcAft>
                <a:spcPts val="77"/>
              </a:spcAft>
              <a:buClrTx/>
              <a:buSzTx/>
              <a:buNone/>
              <a:tabLst>
                <a:tab pos="65597" algn="l"/>
              </a:tabLst>
              <a:defRPr/>
            </a:pPr>
            <a:r>
              <a:rPr lang="it-IT" sz="1200" b="1" dirty="0">
                <a:solidFill>
                  <a:srgbClr val="000000"/>
                </a:solidFill>
              </a:rPr>
              <a:t>Il Progetto </a:t>
            </a:r>
            <a:r>
              <a:rPr lang="it-IT" sz="1200" dirty="0">
                <a:solidFill>
                  <a:srgbClr val="000000"/>
                </a:solidFill>
              </a:rPr>
              <a:t>prevede il collegamento tra la località Val Fontanabuona e l’autostrada A12 (Genova-Roma) nei pressi dello svincolo di Rapallo ed </a:t>
            </a:r>
            <a:r>
              <a:rPr lang="it-IT" sz="1200" b="1" dirty="0">
                <a:solidFill>
                  <a:srgbClr val="000000"/>
                </a:solidFill>
              </a:rPr>
              <a:t>è articolato in 4 interventi omogenei</a:t>
            </a:r>
            <a:r>
              <a:rPr lang="it-IT" sz="1200" b="0" dirty="0">
                <a:solidFill>
                  <a:srgbClr val="000000"/>
                </a:solidFill>
              </a:rPr>
              <a:t>:</a:t>
            </a:r>
          </a:p>
          <a:p>
            <a:pPr marL="228600" lvl="1" algn="just" defTabSz="732656">
              <a:lnSpc>
                <a:spcPct val="150000"/>
              </a:lnSpc>
              <a:spcAft>
                <a:spcPts val="77"/>
              </a:spcAft>
              <a:buFont typeface="+mj-lt"/>
              <a:buAutoNum type="arabicPeriod"/>
              <a:tabLst>
                <a:tab pos="65597" algn="l"/>
              </a:tabLst>
              <a:defRPr/>
            </a:pPr>
            <a:r>
              <a:rPr lang="it-IT" sz="1200" b="1" dirty="0">
                <a:solidFill>
                  <a:srgbClr val="000000"/>
                </a:solidFill>
              </a:rPr>
              <a:t>una variante del tracciato dell’A12 tra le </a:t>
            </a:r>
            <a:r>
              <a:rPr lang="it-IT" sz="1200" b="1" dirty="0" err="1">
                <a:solidFill>
                  <a:srgbClr val="000000"/>
                </a:solidFill>
              </a:rPr>
              <a:t>pk</a:t>
            </a:r>
            <a:r>
              <a:rPr lang="it-IT" sz="1200" b="1" dirty="0">
                <a:solidFill>
                  <a:srgbClr val="000000"/>
                </a:solidFill>
              </a:rPr>
              <a:t> 26+280 e 27+194 </a:t>
            </a:r>
            <a:r>
              <a:rPr lang="it-IT" sz="1200" dirty="0">
                <a:solidFill>
                  <a:srgbClr val="000000"/>
                </a:solidFill>
              </a:rPr>
              <a:t>per accogliere lo svincolo;</a:t>
            </a:r>
          </a:p>
          <a:p>
            <a:pPr marL="228600" lvl="1" algn="just" defTabSz="732656">
              <a:lnSpc>
                <a:spcPct val="150000"/>
              </a:lnSpc>
              <a:spcAft>
                <a:spcPts val="77"/>
              </a:spcAft>
              <a:buFont typeface="+mj-lt"/>
              <a:buAutoNum type="arabicPeriod"/>
              <a:tabLst>
                <a:tab pos="65597" algn="l"/>
              </a:tabLst>
              <a:defRPr/>
            </a:pPr>
            <a:r>
              <a:rPr lang="it-IT" sz="1200" b="1" dirty="0">
                <a:solidFill>
                  <a:srgbClr val="000000"/>
                </a:solidFill>
              </a:rPr>
              <a:t>uno svincolo completo </a:t>
            </a:r>
            <a:r>
              <a:rPr lang="it-IT" sz="1200" b="0" dirty="0">
                <a:solidFill>
                  <a:srgbClr val="000000"/>
                </a:solidFill>
              </a:rPr>
              <a:t>innestato sul tratto di A12 compreso tra le gallerie esistenti Giovanni Maggio e Casalino;</a:t>
            </a:r>
          </a:p>
          <a:p>
            <a:pPr marL="228600" lvl="1" algn="just" defTabSz="732656">
              <a:lnSpc>
                <a:spcPct val="150000"/>
              </a:lnSpc>
              <a:spcAft>
                <a:spcPts val="77"/>
              </a:spcAft>
              <a:buFont typeface="+mj-lt"/>
              <a:buAutoNum type="arabicPeriod"/>
              <a:tabLst>
                <a:tab pos="65597" algn="l"/>
              </a:tabLst>
              <a:defRPr/>
            </a:pPr>
            <a:r>
              <a:rPr lang="it-IT" sz="1200" b="1" dirty="0">
                <a:solidFill>
                  <a:srgbClr val="000000"/>
                </a:solidFill>
              </a:rPr>
              <a:t>una rampa principale </a:t>
            </a:r>
            <a:r>
              <a:rPr lang="it-IT" sz="1200" b="0" dirty="0">
                <a:solidFill>
                  <a:srgbClr val="000000"/>
                </a:solidFill>
              </a:rPr>
              <a:t>con uno sviluppo di circa 5.6 km</a:t>
            </a:r>
            <a:r>
              <a:rPr lang="it-IT" sz="1200" dirty="0">
                <a:solidFill>
                  <a:srgbClr val="000000"/>
                </a:solidFill>
              </a:rPr>
              <a:t> </a:t>
            </a:r>
            <a:r>
              <a:rPr lang="it-IT" sz="1200" b="0" dirty="0">
                <a:solidFill>
                  <a:srgbClr val="000000"/>
                </a:solidFill>
              </a:rPr>
              <a:t>che costituisce il collegamento vero e proprio con la Val Fontanabuona e termina con la barriera di esazione; </a:t>
            </a:r>
          </a:p>
          <a:p>
            <a:pPr marL="228600" lvl="1" algn="just" defTabSz="732656">
              <a:lnSpc>
                <a:spcPct val="150000"/>
              </a:lnSpc>
              <a:spcAft>
                <a:spcPts val="77"/>
              </a:spcAft>
              <a:buFont typeface="+mj-lt"/>
              <a:buAutoNum type="arabicPeriod"/>
              <a:tabLst>
                <a:tab pos="65597" algn="l"/>
              </a:tabLst>
              <a:defRPr/>
            </a:pPr>
            <a:r>
              <a:rPr lang="it-IT" sz="1200" b="1" dirty="0">
                <a:solidFill>
                  <a:srgbClr val="000000"/>
                </a:solidFill>
              </a:rPr>
              <a:t>L’adeguamento della SP22 </a:t>
            </a:r>
            <a:r>
              <a:rPr lang="it-IT" sz="1200" b="0" dirty="0">
                <a:solidFill>
                  <a:srgbClr val="000000"/>
                </a:solidFill>
              </a:rPr>
              <a:t>tra l’intersezione con la rampa e la SP225 presso Moconesi. </a:t>
            </a:r>
            <a:endParaRPr lang="it-IT" sz="1200" dirty="0">
              <a:solidFill>
                <a:srgbClr val="000000"/>
              </a:solidFill>
            </a:endParaRPr>
          </a:p>
        </p:txBody>
      </p:sp>
      <p:sp>
        <p:nvSpPr>
          <p:cNvPr id="20" name="Titolo 6">
            <a:extLst>
              <a:ext uri="{FF2B5EF4-FFF2-40B4-BE49-F238E27FC236}">
                <a16:creationId xmlns:a16="http://schemas.microsoft.com/office/drawing/2014/main" id="{F4B312A5-AB17-4CA0-905E-D7BAFAB4FFD6}"/>
              </a:ext>
            </a:extLst>
          </p:cNvPr>
          <p:cNvSpPr>
            <a:spLocks noGrp="1"/>
          </p:cNvSpPr>
          <p:nvPr>
            <p:ph type="title"/>
          </p:nvPr>
        </p:nvSpPr>
        <p:spPr>
          <a:xfrm>
            <a:off x="258416" y="368701"/>
            <a:ext cx="10515600" cy="418646"/>
          </a:xfrm>
        </p:spPr>
        <p:txBody>
          <a:bodyPr>
            <a:normAutofit fontScale="90000"/>
          </a:bodyPr>
          <a:lstStyle/>
          <a:p>
            <a:r>
              <a:rPr lang="it-IT" sz="3200" b="1" dirty="0"/>
              <a:t>03. </a:t>
            </a:r>
            <a:r>
              <a:rPr lang="it-IT" sz="3200" b="1" dirty="0" err="1"/>
              <a:t>Overview</a:t>
            </a:r>
            <a:r>
              <a:rPr lang="it-IT" sz="3200" b="1" dirty="0"/>
              <a:t> intervento</a:t>
            </a:r>
          </a:p>
        </p:txBody>
      </p:sp>
      <p:sp>
        <p:nvSpPr>
          <p:cNvPr id="21" name="Rettangolo 20">
            <a:extLst>
              <a:ext uri="{FF2B5EF4-FFF2-40B4-BE49-F238E27FC236}">
                <a16:creationId xmlns:a16="http://schemas.microsoft.com/office/drawing/2014/main" id="{DDEBEF42-FB5F-40AA-A6A7-5860EC8CB590}"/>
              </a:ext>
            </a:extLst>
          </p:cNvPr>
          <p:cNvSpPr/>
          <p:nvPr/>
        </p:nvSpPr>
        <p:spPr>
          <a:xfrm>
            <a:off x="258416" y="825526"/>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4" name="Gruppo 3">
            <a:extLst>
              <a:ext uri="{FF2B5EF4-FFF2-40B4-BE49-F238E27FC236}">
                <a16:creationId xmlns:a16="http://schemas.microsoft.com/office/drawing/2014/main" id="{6400B2C5-1020-47CE-98A7-446F551BE2B7}"/>
              </a:ext>
            </a:extLst>
          </p:cNvPr>
          <p:cNvGrpSpPr/>
          <p:nvPr/>
        </p:nvGrpSpPr>
        <p:grpSpPr>
          <a:xfrm>
            <a:off x="5154304" y="3545000"/>
            <a:ext cx="319258" cy="369332"/>
            <a:chOff x="4530011" y="3401472"/>
            <a:chExt cx="319258" cy="369332"/>
          </a:xfrm>
          <a:noFill/>
        </p:grpSpPr>
        <p:sp>
          <p:nvSpPr>
            <p:cNvPr id="2" name="Ovale 1">
              <a:extLst>
                <a:ext uri="{FF2B5EF4-FFF2-40B4-BE49-F238E27FC236}">
                  <a16:creationId xmlns:a16="http://schemas.microsoft.com/office/drawing/2014/main" id="{0AF0D374-59B7-4623-B452-284304A9B9D7}"/>
                </a:ext>
              </a:extLst>
            </p:cNvPr>
            <p:cNvSpPr/>
            <p:nvPr/>
          </p:nvSpPr>
          <p:spPr>
            <a:xfrm>
              <a:off x="4539342" y="3440723"/>
              <a:ext cx="289249" cy="289249"/>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bg1"/>
                </a:solidFill>
              </a:endParaRPr>
            </a:p>
          </p:txBody>
        </p:sp>
        <p:sp>
          <p:nvSpPr>
            <p:cNvPr id="3" name="CasellaDiTesto 2">
              <a:extLst>
                <a:ext uri="{FF2B5EF4-FFF2-40B4-BE49-F238E27FC236}">
                  <a16:creationId xmlns:a16="http://schemas.microsoft.com/office/drawing/2014/main" id="{E4A92586-178C-4A68-9863-CDB4FEF3B5B5}"/>
                </a:ext>
              </a:extLst>
            </p:cNvPr>
            <p:cNvSpPr txBox="1"/>
            <p:nvPr/>
          </p:nvSpPr>
          <p:spPr>
            <a:xfrm>
              <a:off x="4530011" y="3401472"/>
              <a:ext cx="319258" cy="369332"/>
            </a:xfrm>
            <a:prstGeom prst="rect">
              <a:avLst/>
            </a:prstGeom>
            <a:grpFill/>
            <a:ln>
              <a:noFill/>
            </a:ln>
          </p:spPr>
          <p:txBody>
            <a:bodyPr wrap="square" rtlCol="0">
              <a:spAutoFit/>
            </a:bodyPr>
            <a:lstStyle/>
            <a:p>
              <a:r>
                <a:rPr lang="it-IT" dirty="0">
                  <a:solidFill>
                    <a:schemeClr val="bg1"/>
                  </a:solidFill>
                </a:rPr>
                <a:t>1</a:t>
              </a:r>
            </a:p>
          </p:txBody>
        </p:sp>
      </p:grpSp>
      <p:grpSp>
        <p:nvGrpSpPr>
          <p:cNvPr id="15" name="Gruppo 14">
            <a:extLst>
              <a:ext uri="{FF2B5EF4-FFF2-40B4-BE49-F238E27FC236}">
                <a16:creationId xmlns:a16="http://schemas.microsoft.com/office/drawing/2014/main" id="{58A57C97-1AAB-4CA5-B441-9D48F1DDFEEB}"/>
              </a:ext>
            </a:extLst>
          </p:cNvPr>
          <p:cNvGrpSpPr/>
          <p:nvPr/>
        </p:nvGrpSpPr>
        <p:grpSpPr>
          <a:xfrm>
            <a:off x="4699977" y="2911446"/>
            <a:ext cx="298581" cy="369332"/>
            <a:chOff x="4530010" y="3401472"/>
            <a:chExt cx="298581" cy="369332"/>
          </a:xfrm>
          <a:noFill/>
        </p:grpSpPr>
        <p:sp>
          <p:nvSpPr>
            <p:cNvPr id="16" name="Ovale 15">
              <a:extLst>
                <a:ext uri="{FF2B5EF4-FFF2-40B4-BE49-F238E27FC236}">
                  <a16:creationId xmlns:a16="http://schemas.microsoft.com/office/drawing/2014/main" id="{75A864D6-E338-4E8F-AF43-80EAED250AA1}"/>
                </a:ext>
              </a:extLst>
            </p:cNvPr>
            <p:cNvSpPr/>
            <p:nvPr/>
          </p:nvSpPr>
          <p:spPr>
            <a:xfrm>
              <a:off x="4539342" y="3429000"/>
              <a:ext cx="289249" cy="289249"/>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bg1"/>
                </a:solidFill>
              </a:endParaRPr>
            </a:p>
          </p:txBody>
        </p:sp>
        <p:sp>
          <p:nvSpPr>
            <p:cNvPr id="17" name="CasellaDiTesto 16">
              <a:extLst>
                <a:ext uri="{FF2B5EF4-FFF2-40B4-BE49-F238E27FC236}">
                  <a16:creationId xmlns:a16="http://schemas.microsoft.com/office/drawing/2014/main" id="{0C04A9D5-4836-46F1-8B81-E62315534ECA}"/>
                </a:ext>
              </a:extLst>
            </p:cNvPr>
            <p:cNvSpPr txBox="1"/>
            <p:nvPr/>
          </p:nvSpPr>
          <p:spPr>
            <a:xfrm>
              <a:off x="4530010" y="3401472"/>
              <a:ext cx="298581" cy="369332"/>
            </a:xfrm>
            <a:prstGeom prst="rect">
              <a:avLst/>
            </a:prstGeom>
            <a:grpFill/>
            <a:ln>
              <a:noFill/>
            </a:ln>
          </p:spPr>
          <p:txBody>
            <a:bodyPr wrap="square" rtlCol="0">
              <a:spAutoFit/>
            </a:bodyPr>
            <a:lstStyle/>
            <a:p>
              <a:r>
                <a:rPr lang="it-IT" dirty="0">
                  <a:solidFill>
                    <a:schemeClr val="bg1"/>
                  </a:solidFill>
                </a:rPr>
                <a:t>2</a:t>
              </a:r>
            </a:p>
          </p:txBody>
        </p:sp>
      </p:grpSp>
      <p:grpSp>
        <p:nvGrpSpPr>
          <p:cNvPr id="18" name="Gruppo 17">
            <a:extLst>
              <a:ext uri="{FF2B5EF4-FFF2-40B4-BE49-F238E27FC236}">
                <a16:creationId xmlns:a16="http://schemas.microsoft.com/office/drawing/2014/main" id="{242D0D55-54EE-443A-B295-206EAAD5894A}"/>
              </a:ext>
            </a:extLst>
          </p:cNvPr>
          <p:cNvGrpSpPr/>
          <p:nvPr/>
        </p:nvGrpSpPr>
        <p:grpSpPr>
          <a:xfrm>
            <a:off x="7538754" y="3228223"/>
            <a:ext cx="298581" cy="369332"/>
            <a:chOff x="4530010" y="3401472"/>
            <a:chExt cx="298581" cy="369332"/>
          </a:xfrm>
          <a:noFill/>
        </p:grpSpPr>
        <p:sp>
          <p:nvSpPr>
            <p:cNvPr id="19" name="Ovale 18">
              <a:extLst>
                <a:ext uri="{FF2B5EF4-FFF2-40B4-BE49-F238E27FC236}">
                  <a16:creationId xmlns:a16="http://schemas.microsoft.com/office/drawing/2014/main" id="{4D5EBF8B-FEFC-4329-A840-D44A954088EF}"/>
                </a:ext>
              </a:extLst>
            </p:cNvPr>
            <p:cNvSpPr/>
            <p:nvPr/>
          </p:nvSpPr>
          <p:spPr>
            <a:xfrm>
              <a:off x="4539342" y="3429000"/>
              <a:ext cx="289249" cy="289249"/>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bg1"/>
                </a:solidFill>
              </a:endParaRPr>
            </a:p>
          </p:txBody>
        </p:sp>
        <p:sp>
          <p:nvSpPr>
            <p:cNvPr id="22" name="CasellaDiTesto 21">
              <a:extLst>
                <a:ext uri="{FF2B5EF4-FFF2-40B4-BE49-F238E27FC236}">
                  <a16:creationId xmlns:a16="http://schemas.microsoft.com/office/drawing/2014/main" id="{CC2E99A6-6534-412D-AC07-2E2DC11B6F23}"/>
                </a:ext>
              </a:extLst>
            </p:cNvPr>
            <p:cNvSpPr txBox="1"/>
            <p:nvPr/>
          </p:nvSpPr>
          <p:spPr>
            <a:xfrm>
              <a:off x="4530010" y="3401472"/>
              <a:ext cx="298581" cy="369332"/>
            </a:xfrm>
            <a:prstGeom prst="rect">
              <a:avLst/>
            </a:prstGeom>
            <a:grpFill/>
            <a:ln>
              <a:noFill/>
            </a:ln>
          </p:spPr>
          <p:txBody>
            <a:bodyPr wrap="square" rtlCol="0">
              <a:spAutoFit/>
            </a:bodyPr>
            <a:lstStyle/>
            <a:p>
              <a:r>
                <a:rPr lang="it-IT" dirty="0">
                  <a:solidFill>
                    <a:schemeClr val="bg1"/>
                  </a:solidFill>
                </a:rPr>
                <a:t>3</a:t>
              </a:r>
            </a:p>
          </p:txBody>
        </p:sp>
      </p:grpSp>
      <p:grpSp>
        <p:nvGrpSpPr>
          <p:cNvPr id="23" name="Gruppo 22">
            <a:extLst>
              <a:ext uri="{FF2B5EF4-FFF2-40B4-BE49-F238E27FC236}">
                <a16:creationId xmlns:a16="http://schemas.microsoft.com/office/drawing/2014/main" id="{19A2BFD4-A428-435E-AEB6-869992D120F6}"/>
              </a:ext>
            </a:extLst>
          </p:cNvPr>
          <p:cNvGrpSpPr/>
          <p:nvPr/>
        </p:nvGrpSpPr>
        <p:grpSpPr>
          <a:xfrm>
            <a:off x="11171394" y="4443709"/>
            <a:ext cx="298581" cy="369332"/>
            <a:chOff x="4530010" y="3401472"/>
            <a:chExt cx="298581" cy="369332"/>
          </a:xfrm>
          <a:noFill/>
        </p:grpSpPr>
        <p:sp>
          <p:nvSpPr>
            <p:cNvPr id="24" name="Ovale 23">
              <a:extLst>
                <a:ext uri="{FF2B5EF4-FFF2-40B4-BE49-F238E27FC236}">
                  <a16:creationId xmlns:a16="http://schemas.microsoft.com/office/drawing/2014/main" id="{D0485059-860A-4358-94B6-4F6099CBD8B6}"/>
                </a:ext>
              </a:extLst>
            </p:cNvPr>
            <p:cNvSpPr/>
            <p:nvPr/>
          </p:nvSpPr>
          <p:spPr>
            <a:xfrm>
              <a:off x="4539342" y="3429000"/>
              <a:ext cx="289249" cy="289249"/>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bg1"/>
                </a:solidFill>
              </a:endParaRPr>
            </a:p>
          </p:txBody>
        </p:sp>
        <p:sp>
          <p:nvSpPr>
            <p:cNvPr id="25" name="CasellaDiTesto 24">
              <a:extLst>
                <a:ext uri="{FF2B5EF4-FFF2-40B4-BE49-F238E27FC236}">
                  <a16:creationId xmlns:a16="http://schemas.microsoft.com/office/drawing/2014/main" id="{6E1B3BC8-A7AF-44C2-83BC-CFC91D98127B}"/>
                </a:ext>
              </a:extLst>
            </p:cNvPr>
            <p:cNvSpPr txBox="1"/>
            <p:nvPr/>
          </p:nvSpPr>
          <p:spPr>
            <a:xfrm>
              <a:off x="4530010" y="3401472"/>
              <a:ext cx="298581" cy="369332"/>
            </a:xfrm>
            <a:prstGeom prst="rect">
              <a:avLst/>
            </a:prstGeom>
            <a:grpFill/>
            <a:ln>
              <a:noFill/>
            </a:ln>
          </p:spPr>
          <p:txBody>
            <a:bodyPr wrap="square" rtlCol="0">
              <a:spAutoFit/>
            </a:bodyPr>
            <a:lstStyle/>
            <a:p>
              <a:r>
                <a:rPr lang="it-IT" dirty="0">
                  <a:solidFill>
                    <a:schemeClr val="bg1"/>
                  </a:solidFill>
                </a:rPr>
                <a:t>4</a:t>
              </a:r>
            </a:p>
          </p:txBody>
        </p:sp>
      </p:grpSp>
    </p:spTree>
    <p:extLst>
      <p:ext uri="{BB962C8B-B14F-4D97-AF65-F5344CB8AC3E}">
        <p14:creationId xmlns:p14="http://schemas.microsoft.com/office/powerpoint/2010/main" val="5787605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Ovale 38">
            <a:extLst>
              <a:ext uri="{FF2B5EF4-FFF2-40B4-BE49-F238E27FC236}">
                <a16:creationId xmlns:a16="http://schemas.microsoft.com/office/drawing/2014/main" id="{481117DC-6516-40E2-A97F-6F42D0787797}"/>
              </a:ext>
            </a:extLst>
          </p:cNvPr>
          <p:cNvSpPr/>
          <p:nvPr/>
        </p:nvSpPr>
        <p:spPr>
          <a:xfrm>
            <a:off x="458501" y="982738"/>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40" name="Elemento grafico 39" descr="Orologio contorno">
            <a:extLst>
              <a:ext uri="{FF2B5EF4-FFF2-40B4-BE49-F238E27FC236}">
                <a16:creationId xmlns:a16="http://schemas.microsoft.com/office/drawing/2014/main" id="{6E64E655-51C7-444C-B8A9-832AE5BFB0CE}"/>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8663" y="1029147"/>
            <a:ext cx="457200" cy="457200"/>
          </a:xfrm>
          <a:prstGeom prst="rect">
            <a:avLst/>
          </a:prstGeom>
        </p:spPr>
      </p:pic>
      <p:sp>
        <p:nvSpPr>
          <p:cNvPr id="5" name="Segnaposto testo 8">
            <a:extLst>
              <a:ext uri="{FF2B5EF4-FFF2-40B4-BE49-F238E27FC236}">
                <a16:creationId xmlns:a16="http://schemas.microsoft.com/office/drawing/2014/main" id="{159E0B95-1159-47B6-93D4-DD9555426108}"/>
              </a:ext>
            </a:extLst>
          </p:cNvPr>
          <p:cNvSpPr txBox="1">
            <a:spLocks/>
          </p:cNvSpPr>
          <p:nvPr/>
        </p:nvSpPr>
        <p:spPr>
          <a:xfrm>
            <a:off x="1027952" y="2604503"/>
            <a:ext cx="4946852" cy="424056"/>
          </a:xfrm>
          <a:prstGeom prst="rect">
            <a:avLst/>
          </a:prstGeom>
        </p:spPr>
        <p:txBody>
          <a:bodyPr vert="horz" lIns="91440" tIns="45720" rIns="91440" bIns="45720" rtlCol="0" anchor="b">
            <a:no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Estensione interventi</a:t>
            </a:r>
          </a:p>
        </p:txBody>
      </p:sp>
      <p:sp>
        <p:nvSpPr>
          <p:cNvPr id="6" name="Segnaposto contenuto 2">
            <a:extLst>
              <a:ext uri="{FF2B5EF4-FFF2-40B4-BE49-F238E27FC236}">
                <a16:creationId xmlns:a16="http://schemas.microsoft.com/office/drawing/2014/main" id="{1B522F23-A424-4F12-8F10-3D071758CE37}"/>
              </a:ext>
            </a:extLst>
          </p:cNvPr>
          <p:cNvSpPr txBox="1">
            <a:spLocks/>
          </p:cNvSpPr>
          <p:nvPr/>
        </p:nvSpPr>
        <p:spPr>
          <a:xfrm>
            <a:off x="452931" y="1662281"/>
            <a:ext cx="10989426" cy="458852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it-IT" sz="1200" dirty="0">
              <a:solidFill>
                <a:srgbClr val="000000"/>
              </a:solidFill>
            </a:endParaRPr>
          </a:p>
        </p:txBody>
      </p:sp>
      <p:sp>
        <p:nvSpPr>
          <p:cNvPr id="21" name="Rettangolo 20">
            <a:extLst>
              <a:ext uri="{FF2B5EF4-FFF2-40B4-BE49-F238E27FC236}">
                <a16:creationId xmlns:a16="http://schemas.microsoft.com/office/drawing/2014/main" id="{DDEBEF42-FB5F-40AA-A6A7-5860EC8CB590}"/>
              </a:ext>
            </a:extLst>
          </p:cNvPr>
          <p:cNvSpPr/>
          <p:nvPr/>
        </p:nvSpPr>
        <p:spPr>
          <a:xfrm>
            <a:off x="258416" y="825526"/>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Ovale 18">
            <a:extLst>
              <a:ext uri="{FF2B5EF4-FFF2-40B4-BE49-F238E27FC236}">
                <a16:creationId xmlns:a16="http://schemas.microsoft.com/office/drawing/2014/main" id="{6BB602DF-0125-4A38-A55A-2ADA1E2894DB}"/>
              </a:ext>
            </a:extLst>
          </p:cNvPr>
          <p:cNvSpPr/>
          <p:nvPr/>
        </p:nvSpPr>
        <p:spPr>
          <a:xfrm>
            <a:off x="458501" y="2541915"/>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4" name="Titolo 6">
            <a:extLst>
              <a:ext uri="{FF2B5EF4-FFF2-40B4-BE49-F238E27FC236}">
                <a16:creationId xmlns:a16="http://schemas.microsoft.com/office/drawing/2014/main" id="{DD93E47C-2B96-4D5A-BDF6-75AE260C480B}"/>
              </a:ext>
            </a:extLst>
          </p:cNvPr>
          <p:cNvSpPr txBox="1">
            <a:spLocks/>
          </p:cNvSpPr>
          <p:nvPr/>
        </p:nvSpPr>
        <p:spPr>
          <a:xfrm>
            <a:off x="258416" y="380725"/>
            <a:ext cx="10515600" cy="418646"/>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3200" b="1" dirty="0"/>
              <a:t>04. I Numeri del progetto</a:t>
            </a:r>
            <a:endParaRPr lang="it-IT" sz="3200" b="1" dirty="0">
              <a:solidFill>
                <a:srgbClr val="FF0000"/>
              </a:solidFill>
            </a:endParaRPr>
          </a:p>
        </p:txBody>
      </p:sp>
      <p:pic>
        <p:nvPicPr>
          <p:cNvPr id="17" name="Elemento grafico 16" descr="Modifiche e adattamento contorno">
            <a:extLst>
              <a:ext uri="{FF2B5EF4-FFF2-40B4-BE49-F238E27FC236}">
                <a16:creationId xmlns:a16="http://schemas.microsoft.com/office/drawing/2014/main" id="{3CA9BD88-8C26-42F5-9455-E9BCC51FDE99}"/>
              </a:ext>
            </a:extLst>
          </p:cNvPr>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8488" y="2578999"/>
            <a:ext cx="466344" cy="466344"/>
          </a:xfrm>
          <a:prstGeom prst="rect">
            <a:avLst/>
          </a:prstGeom>
        </p:spPr>
      </p:pic>
      <p:graphicFrame>
        <p:nvGraphicFramePr>
          <p:cNvPr id="36" name="Tabella 30">
            <a:extLst>
              <a:ext uri="{FF2B5EF4-FFF2-40B4-BE49-F238E27FC236}">
                <a16:creationId xmlns:a16="http://schemas.microsoft.com/office/drawing/2014/main" id="{A1FA0970-4E66-4975-879D-59DA8BE28E3A}"/>
              </a:ext>
            </a:extLst>
          </p:cNvPr>
          <p:cNvGraphicFramePr>
            <a:graphicFrameLocks noGrp="1"/>
          </p:cNvGraphicFramePr>
          <p:nvPr>
            <p:extLst>
              <p:ext uri="{D42A27DB-BD31-4B8C-83A1-F6EECF244321}">
                <p14:modId xmlns:p14="http://schemas.microsoft.com/office/powerpoint/2010/main" val="524104327"/>
              </p:ext>
            </p:extLst>
          </p:nvPr>
        </p:nvGraphicFramePr>
        <p:xfrm>
          <a:off x="1059553" y="3189792"/>
          <a:ext cx="4652704" cy="1476000"/>
        </p:xfrm>
        <a:graphic>
          <a:graphicData uri="http://schemas.openxmlformats.org/drawingml/2006/table">
            <a:tbl>
              <a:tblPr firstRow="1" bandRow="1">
                <a:tableStyleId>{5C22544A-7EE6-4342-B048-85BDC9FD1C3A}</a:tableStyleId>
              </a:tblPr>
              <a:tblGrid>
                <a:gridCol w="2962911">
                  <a:extLst>
                    <a:ext uri="{9D8B030D-6E8A-4147-A177-3AD203B41FA5}">
                      <a16:colId xmlns:a16="http://schemas.microsoft.com/office/drawing/2014/main" val="1610128087"/>
                    </a:ext>
                  </a:extLst>
                </a:gridCol>
                <a:gridCol w="1689793">
                  <a:extLst>
                    <a:ext uri="{9D8B030D-6E8A-4147-A177-3AD203B41FA5}">
                      <a16:colId xmlns:a16="http://schemas.microsoft.com/office/drawing/2014/main" val="2127654920"/>
                    </a:ext>
                  </a:extLst>
                </a:gridCol>
              </a:tblGrid>
              <a:tr h="396000">
                <a:tc gridSpan="2">
                  <a:txBody>
                    <a:bodyPr/>
                    <a:lstStyle/>
                    <a:p>
                      <a:pPr algn="ctr"/>
                      <a:r>
                        <a:rPr lang="it-IT" sz="1600" dirty="0"/>
                        <a:t>Sviluppo collegamento viario</a:t>
                      </a:r>
                    </a:p>
                  </a:txBody>
                  <a:tcPr anchor="ctr"/>
                </a:tc>
                <a:tc hMerge="1">
                  <a:txBody>
                    <a:bodyPr/>
                    <a:lstStyle/>
                    <a:p>
                      <a:endParaRPr lang="it-IT" dirty="0"/>
                    </a:p>
                  </a:txBody>
                  <a:tcPr/>
                </a:tc>
                <a:extLst>
                  <a:ext uri="{0D108BD9-81ED-4DB2-BD59-A6C34878D82A}">
                    <a16:rowId xmlns:a16="http://schemas.microsoft.com/office/drawing/2014/main" val="2255424611"/>
                  </a:ext>
                </a:extLst>
              </a:tr>
              <a:tr h="360000">
                <a:tc>
                  <a:txBody>
                    <a:bodyPr/>
                    <a:lstStyle/>
                    <a:p>
                      <a:r>
                        <a:rPr lang="it-IT" sz="1400" dirty="0"/>
                        <a:t>Rampe di svincolo A12</a:t>
                      </a:r>
                    </a:p>
                  </a:txBody>
                  <a:tcPr anchor="ctr"/>
                </a:tc>
                <a:tc>
                  <a:txBody>
                    <a:bodyPr/>
                    <a:lstStyle/>
                    <a:p>
                      <a:pPr algn="r"/>
                      <a:r>
                        <a:rPr lang="it-IT" sz="1400" kern="1200" dirty="0">
                          <a:solidFill>
                            <a:schemeClr val="dk1"/>
                          </a:solidFill>
                          <a:latin typeface="+mn-lt"/>
                          <a:ea typeface="+mn-ea"/>
                          <a:cs typeface="+mn-cs"/>
                        </a:rPr>
                        <a:t>~ </a:t>
                      </a:r>
                      <a:r>
                        <a:rPr lang="it-IT" sz="1400" dirty="0"/>
                        <a:t>1,6 km</a:t>
                      </a:r>
                    </a:p>
                  </a:txBody>
                  <a:tcPr anchor="ctr"/>
                </a:tc>
                <a:extLst>
                  <a:ext uri="{0D108BD9-81ED-4DB2-BD59-A6C34878D82A}">
                    <a16:rowId xmlns:a16="http://schemas.microsoft.com/office/drawing/2014/main" val="3314439511"/>
                  </a:ext>
                </a:extLst>
              </a:tr>
              <a:tr h="360000">
                <a:tc>
                  <a:txBody>
                    <a:bodyPr/>
                    <a:lstStyle/>
                    <a:p>
                      <a:r>
                        <a:rPr lang="it-IT" sz="1400" dirty="0"/>
                        <a:t>Rampa principale</a:t>
                      </a:r>
                    </a:p>
                  </a:txBody>
                  <a:tcPr anchor="ctr"/>
                </a:tc>
                <a:tc>
                  <a:txBody>
                    <a:bodyPr/>
                    <a:lstStyle/>
                    <a:p>
                      <a:pPr algn="r"/>
                      <a:r>
                        <a:rPr lang="it-IT" sz="1400" kern="1200" dirty="0">
                          <a:solidFill>
                            <a:schemeClr val="dk1"/>
                          </a:solidFill>
                          <a:latin typeface="+mn-lt"/>
                          <a:ea typeface="+mn-ea"/>
                          <a:cs typeface="+mn-cs"/>
                        </a:rPr>
                        <a:t>~ </a:t>
                      </a:r>
                      <a:r>
                        <a:rPr lang="it-IT" sz="1400" dirty="0"/>
                        <a:t>5,6 km</a:t>
                      </a:r>
                    </a:p>
                  </a:txBody>
                  <a:tcPr anchor="ctr"/>
                </a:tc>
                <a:extLst>
                  <a:ext uri="{0D108BD9-81ED-4DB2-BD59-A6C34878D82A}">
                    <a16:rowId xmlns:a16="http://schemas.microsoft.com/office/drawing/2014/main" val="3107351110"/>
                  </a:ext>
                </a:extLst>
              </a:tr>
              <a:tr h="360000">
                <a:tc>
                  <a:txBody>
                    <a:bodyPr/>
                    <a:lstStyle/>
                    <a:p>
                      <a:r>
                        <a:rPr lang="it-IT" sz="1400" dirty="0"/>
                        <a:t>Adeguamento SP22</a:t>
                      </a:r>
                    </a:p>
                  </a:txBody>
                  <a:tcPr anchor="ctr"/>
                </a:tc>
                <a:tc>
                  <a:txBody>
                    <a:bodyPr/>
                    <a:lstStyle/>
                    <a:p>
                      <a:pPr algn="r"/>
                      <a:r>
                        <a:rPr lang="it-IT" sz="1400" kern="1200" dirty="0">
                          <a:solidFill>
                            <a:schemeClr val="dk1"/>
                          </a:solidFill>
                          <a:latin typeface="+mn-lt"/>
                          <a:ea typeface="+mn-ea"/>
                          <a:cs typeface="+mn-cs"/>
                        </a:rPr>
                        <a:t>~ </a:t>
                      </a:r>
                      <a:r>
                        <a:rPr lang="it-IT" sz="1400" dirty="0"/>
                        <a:t>1,6 km</a:t>
                      </a:r>
                    </a:p>
                  </a:txBody>
                  <a:tcPr anchor="ctr"/>
                </a:tc>
                <a:extLst>
                  <a:ext uri="{0D108BD9-81ED-4DB2-BD59-A6C34878D82A}">
                    <a16:rowId xmlns:a16="http://schemas.microsoft.com/office/drawing/2014/main" val="668086908"/>
                  </a:ext>
                </a:extLst>
              </a:tr>
            </a:tbl>
          </a:graphicData>
        </a:graphic>
      </p:graphicFrame>
      <p:graphicFrame>
        <p:nvGraphicFramePr>
          <p:cNvPr id="37" name="Tabella 30">
            <a:extLst>
              <a:ext uri="{FF2B5EF4-FFF2-40B4-BE49-F238E27FC236}">
                <a16:creationId xmlns:a16="http://schemas.microsoft.com/office/drawing/2014/main" id="{4F1E7E28-C202-4594-BC32-D150F7C22636}"/>
              </a:ext>
            </a:extLst>
          </p:cNvPr>
          <p:cNvGraphicFramePr>
            <a:graphicFrameLocks noGrp="1"/>
          </p:cNvGraphicFramePr>
          <p:nvPr>
            <p:extLst>
              <p:ext uri="{D42A27DB-BD31-4B8C-83A1-F6EECF244321}">
                <p14:modId xmlns:p14="http://schemas.microsoft.com/office/powerpoint/2010/main" val="1034821141"/>
              </p:ext>
            </p:extLst>
          </p:nvPr>
        </p:nvGraphicFramePr>
        <p:xfrm>
          <a:off x="1075197" y="4764480"/>
          <a:ext cx="4637060" cy="1476000"/>
        </p:xfrm>
        <a:graphic>
          <a:graphicData uri="http://schemas.openxmlformats.org/drawingml/2006/table">
            <a:tbl>
              <a:tblPr firstRow="1" bandRow="1">
                <a:tableStyleId>{5C22544A-7EE6-4342-B048-85BDC9FD1C3A}</a:tableStyleId>
              </a:tblPr>
              <a:tblGrid>
                <a:gridCol w="2952949">
                  <a:extLst>
                    <a:ext uri="{9D8B030D-6E8A-4147-A177-3AD203B41FA5}">
                      <a16:colId xmlns:a16="http://schemas.microsoft.com/office/drawing/2014/main" val="1610128087"/>
                    </a:ext>
                  </a:extLst>
                </a:gridCol>
                <a:gridCol w="1684111">
                  <a:extLst>
                    <a:ext uri="{9D8B030D-6E8A-4147-A177-3AD203B41FA5}">
                      <a16:colId xmlns:a16="http://schemas.microsoft.com/office/drawing/2014/main" val="2127654920"/>
                    </a:ext>
                  </a:extLst>
                </a:gridCol>
              </a:tblGrid>
              <a:tr h="396000">
                <a:tc gridSpan="2">
                  <a:txBody>
                    <a:bodyPr/>
                    <a:lstStyle/>
                    <a:p>
                      <a:pPr algn="ctr"/>
                      <a:r>
                        <a:rPr lang="it-IT" sz="1600" dirty="0"/>
                        <a:t>Sviluppo opere d’arte</a:t>
                      </a:r>
                    </a:p>
                  </a:txBody>
                  <a:tcPr anchor="ctr"/>
                </a:tc>
                <a:tc hMerge="1">
                  <a:txBody>
                    <a:bodyPr/>
                    <a:lstStyle/>
                    <a:p>
                      <a:endParaRPr lang="it-IT" dirty="0"/>
                    </a:p>
                  </a:txBody>
                  <a:tcPr/>
                </a:tc>
                <a:extLst>
                  <a:ext uri="{0D108BD9-81ED-4DB2-BD59-A6C34878D82A}">
                    <a16:rowId xmlns:a16="http://schemas.microsoft.com/office/drawing/2014/main" val="2255424611"/>
                  </a:ext>
                </a:extLst>
              </a:tr>
              <a:tr h="360000">
                <a:tc>
                  <a:txBody>
                    <a:bodyPr/>
                    <a:lstStyle/>
                    <a:p>
                      <a:r>
                        <a:rPr lang="it-IT" sz="1400" dirty="0"/>
                        <a:t>Gallerie naturali</a:t>
                      </a:r>
                    </a:p>
                  </a:txBody>
                  <a:tcPr anchor="ctr"/>
                </a:tc>
                <a:tc>
                  <a:txBody>
                    <a:bodyPr/>
                    <a:lstStyle/>
                    <a:p>
                      <a:pPr algn="r"/>
                      <a:r>
                        <a:rPr lang="it-IT" sz="1400" kern="1200" dirty="0">
                          <a:solidFill>
                            <a:schemeClr val="dk1"/>
                          </a:solidFill>
                          <a:latin typeface="+mn-lt"/>
                          <a:ea typeface="+mn-ea"/>
                          <a:cs typeface="+mn-cs"/>
                        </a:rPr>
                        <a:t>~ </a:t>
                      </a:r>
                      <a:r>
                        <a:rPr lang="it-IT" sz="1400" dirty="0"/>
                        <a:t>4,6 km</a:t>
                      </a:r>
                    </a:p>
                  </a:txBody>
                  <a:tcPr anchor="ctr"/>
                </a:tc>
                <a:extLst>
                  <a:ext uri="{0D108BD9-81ED-4DB2-BD59-A6C34878D82A}">
                    <a16:rowId xmlns:a16="http://schemas.microsoft.com/office/drawing/2014/main" val="3314439511"/>
                  </a:ext>
                </a:extLst>
              </a:tr>
              <a:tr h="360000">
                <a:tc>
                  <a:txBody>
                    <a:bodyPr/>
                    <a:lstStyle/>
                    <a:p>
                      <a:r>
                        <a:rPr lang="it-IT" sz="1400" dirty="0"/>
                        <a:t>Nuovi viadotti</a:t>
                      </a:r>
                    </a:p>
                  </a:txBody>
                  <a:tcPr anchor="ctr"/>
                </a:tc>
                <a:tc>
                  <a:txBody>
                    <a:bodyPr/>
                    <a:lstStyle/>
                    <a:p>
                      <a:pPr algn="r"/>
                      <a:r>
                        <a:rPr lang="it-IT" sz="1400" dirty="0"/>
                        <a:t>  </a:t>
                      </a:r>
                      <a:r>
                        <a:rPr lang="it-IT" sz="1400" kern="1200" dirty="0">
                          <a:solidFill>
                            <a:schemeClr val="dk1"/>
                          </a:solidFill>
                          <a:latin typeface="+mn-lt"/>
                          <a:ea typeface="+mn-ea"/>
                          <a:cs typeface="+mn-cs"/>
                        </a:rPr>
                        <a:t>~ </a:t>
                      </a:r>
                      <a:r>
                        <a:rPr lang="it-IT" sz="1400" dirty="0"/>
                        <a:t>1 km</a:t>
                      </a:r>
                    </a:p>
                  </a:txBody>
                  <a:tcPr anchor="ctr"/>
                </a:tc>
                <a:extLst>
                  <a:ext uri="{0D108BD9-81ED-4DB2-BD59-A6C34878D82A}">
                    <a16:rowId xmlns:a16="http://schemas.microsoft.com/office/drawing/2014/main" val="3107351110"/>
                  </a:ext>
                </a:extLst>
              </a:tr>
              <a:tr h="360000">
                <a:tc>
                  <a:txBody>
                    <a:bodyPr/>
                    <a:lstStyle/>
                    <a:p>
                      <a:r>
                        <a:rPr lang="it-IT" sz="1400" dirty="0"/>
                        <a:t>Adeguamento viadotti esistenti</a:t>
                      </a:r>
                    </a:p>
                  </a:txBody>
                  <a:tcPr anchor="ctr"/>
                </a:tc>
                <a:tc>
                  <a:txBody>
                    <a:bodyPr/>
                    <a:lstStyle/>
                    <a:p>
                      <a:pPr algn="r"/>
                      <a:r>
                        <a:rPr lang="it-IT" sz="1400" kern="1200" dirty="0">
                          <a:solidFill>
                            <a:schemeClr val="dk1"/>
                          </a:solidFill>
                          <a:latin typeface="+mn-lt"/>
                          <a:ea typeface="+mn-ea"/>
                          <a:cs typeface="+mn-cs"/>
                        </a:rPr>
                        <a:t>~ </a:t>
                      </a:r>
                      <a:r>
                        <a:rPr lang="it-IT" sz="1400" dirty="0"/>
                        <a:t>200 m</a:t>
                      </a:r>
                    </a:p>
                  </a:txBody>
                  <a:tcPr anchor="ctr"/>
                </a:tc>
                <a:extLst>
                  <a:ext uri="{0D108BD9-81ED-4DB2-BD59-A6C34878D82A}">
                    <a16:rowId xmlns:a16="http://schemas.microsoft.com/office/drawing/2014/main" val="668086908"/>
                  </a:ext>
                </a:extLst>
              </a:tr>
            </a:tbl>
          </a:graphicData>
        </a:graphic>
      </p:graphicFrame>
      <p:graphicFrame>
        <p:nvGraphicFramePr>
          <p:cNvPr id="38" name="Tabella 30">
            <a:extLst>
              <a:ext uri="{FF2B5EF4-FFF2-40B4-BE49-F238E27FC236}">
                <a16:creationId xmlns:a16="http://schemas.microsoft.com/office/drawing/2014/main" id="{DC9250B4-080C-491E-8937-7B458338CEE7}"/>
              </a:ext>
            </a:extLst>
          </p:cNvPr>
          <p:cNvGraphicFramePr>
            <a:graphicFrameLocks noGrp="1"/>
          </p:cNvGraphicFramePr>
          <p:nvPr>
            <p:extLst>
              <p:ext uri="{D42A27DB-BD31-4B8C-83A1-F6EECF244321}">
                <p14:modId xmlns:p14="http://schemas.microsoft.com/office/powerpoint/2010/main" val="797327519"/>
              </p:ext>
            </p:extLst>
          </p:nvPr>
        </p:nvGraphicFramePr>
        <p:xfrm>
          <a:off x="1059552" y="1542802"/>
          <a:ext cx="4652704" cy="756000"/>
        </p:xfrm>
        <a:graphic>
          <a:graphicData uri="http://schemas.openxmlformats.org/drawingml/2006/table">
            <a:tbl>
              <a:tblPr firstRow="1" bandRow="1">
                <a:tableStyleId>{5C22544A-7EE6-4342-B048-85BDC9FD1C3A}</a:tableStyleId>
              </a:tblPr>
              <a:tblGrid>
                <a:gridCol w="2962911">
                  <a:extLst>
                    <a:ext uri="{9D8B030D-6E8A-4147-A177-3AD203B41FA5}">
                      <a16:colId xmlns:a16="http://schemas.microsoft.com/office/drawing/2014/main" val="1610128087"/>
                    </a:ext>
                  </a:extLst>
                </a:gridCol>
                <a:gridCol w="1689793">
                  <a:extLst>
                    <a:ext uri="{9D8B030D-6E8A-4147-A177-3AD203B41FA5}">
                      <a16:colId xmlns:a16="http://schemas.microsoft.com/office/drawing/2014/main" val="2127654920"/>
                    </a:ext>
                  </a:extLst>
                </a:gridCol>
              </a:tblGrid>
              <a:tr h="396000">
                <a:tc gridSpan="2">
                  <a:txBody>
                    <a:bodyPr/>
                    <a:lstStyle/>
                    <a:p>
                      <a:pPr algn="ctr"/>
                      <a:r>
                        <a:rPr lang="it-IT" sz="1600" dirty="0"/>
                        <a:t>Durata dei Lavori</a:t>
                      </a:r>
                    </a:p>
                  </a:txBody>
                  <a:tcPr anchor="ctr"/>
                </a:tc>
                <a:tc hMerge="1">
                  <a:txBody>
                    <a:bodyPr/>
                    <a:lstStyle/>
                    <a:p>
                      <a:endParaRPr lang="it-IT" dirty="0"/>
                    </a:p>
                  </a:txBody>
                  <a:tcPr/>
                </a:tc>
                <a:extLst>
                  <a:ext uri="{0D108BD9-81ED-4DB2-BD59-A6C34878D82A}">
                    <a16:rowId xmlns:a16="http://schemas.microsoft.com/office/drawing/2014/main" val="2255424611"/>
                  </a:ext>
                </a:extLst>
              </a:tr>
              <a:tr h="360000">
                <a:tc>
                  <a:txBody>
                    <a:bodyPr/>
                    <a:lstStyle/>
                    <a:p>
                      <a:r>
                        <a:rPr lang="it-IT" sz="1400" dirty="0"/>
                        <a:t>Durata totale dei lavori</a:t>
                      </a:r>
                    </a:p>
                  </a:txBody>
                  <a:tcPr anchor="ctr"/>
                </a:tc>
                <a:tc>
                  <a:txBody>
                    <a:bodyPr/>
                    <a:lstStyle/>
                    <a:p>
                      <a:pPr algn="r"/>
                      <a:r>
                        <a:rPr lang="it-IT" sz="1400" kern="1200" dirty="0">
                          <a:solidFill>
                            <a:schemeClr val="dk1"/>
                          </a:solidFill>
                          <a:latin typeface="+mn-lt"/>
                          <a:ea typeface="+mn-ea"/>
                          <a:cs typeface="+mn-cs"/>
                        </a:rPr>
                        <a:t>~ </a:t>
                      </a:r>
                      <a:r>
                        <a:rPr lang="it-IT" sz="1400" dirty="0"/>
                        <a:t>5 anni</a:t>
                      </a:r>
                    </a:p>
                  </a:txBody>
                  <a:tcPr anchor="ctr"/>
                </a:tc>
                <a:extLst>
                  <a:ext uri="{0D108BD9-81ED-4DB2-BD59-A6C34878D82A}">
                    <a16:rowId xmlns:a16="http://schemas.microsoft.com/office/drawing/2014/main" val="668086908"/>
                  </a:ext>
                </a:extLst>
              </a:tr>
            </a:tbl>
          </a:graphicData>
        </a:graphic>
      </p:graphicFrame>
      <p:sp>
        <p:nvSpPr>
          <p:cNvPr id="41" name="Segnaposto testo 8">
            <a:extLst>
              <a:ext uri="{FF2B5EF4-FFF2-40B4-BE49-F238E27FC236}">
                <a16:creationId xmlns:a16="http://schemas.microsoft.com/office/drawing/2014/main" id="{BA2804CE-0FF4-425E-A240-931826B9D836}"/>
              </a:ext>
            </a:extLst>
          </p:cNvPr>
          <p:cNvSpPr txBox="1">
            <a:spLocks/>
          </p:cNvSpPr>
          <p:nvPr/>
        </p:nvSpPr>
        <p:spPr>
          <a:xfrm>
            <a:off x="1002160" y="1047469"/>
            <a:ext cx="4652704" cy="424056"/>
          </a:xfrm>
          <a:prstGeom prst="rect">
            <a:avLst/>
          </a:prstGeom>
        </p:spPr>
        <p:txBody>
          <a:bodyPr vert="horz" lIns="91440" tIns="45720" rIns="91440" bIns="45720" rtlCol="0" anchor="b">
            <a:no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Durata Lavori</a:t>
            </a:r>
          </a:p>
        </p:txBody>
      </p:sp>
      <p:sp>
        <p:nvSpPr>
          <p:cNvPr id="16" name="Ovale 15">
            <a:extLst>
              <a:ext uri="{FF2B5EF4-FFF2-40B4-BE49-F238E27FC236}">
                <a16:creationId xmlns:a16="http://schemas.microsoft.com/office/drawing/2014/main" id="{B511E217-E1C8-444C-9D6D-13E3A8DBA322}"/>
              </a:ext>
            </a:extLst>
          </p:cNvPr>
          <p:cNvSpPr/>
          <p:nvPr/>
        </p:nvSpPr>
        <p:spPr>
          <a:xfrm>
            <a:off x="6061582" y="982738"/>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18" name="Elemento grafico 17" descr="Orologio contorno">
            <a:extLst>
              <a:ext uri="{FF2B5EF4-FFF2-40B4-BE49-F238E27FC236}">
                <a16:creationId xmlns:a16="http://schemas.microsoft.com/office/drawing/2014/main" id="{63D429A5-D5EB-4ABA-A238-AB3539B8126D}"/>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11744" y="1029147"/>
            <a:ext cx="457200" cy="457200"/>
          </a:xfrm>
          <a:prstGeom prst="rect">
            <a:avLst/>
          </a:prstGeom>
        </p:spPr>
      </p:pic>
      <p:graphicFrame>
        <p:nvGraphicFramePr>
          <p:cNvPr id="20" name="Tabella 30">
            <a:extLst>
              <a:ext uri="{FF2B5EF4-FFF2-40B4-BE49-F238E27FC236}">
                <a16:creationId xmlns:a16="http://schemas.microsoft.com/office/drawing/2014/main" id="{AC811FD5-B84B-4111-AC86-43F6DE0FC254}"/>
              </a:ext>
            </a:extLst>
          </p:cNvPr>
          <p:cNvGraphicFramePr>
            <a:graphicFrameLocks noGrp="1"/>
          </p:cNvGraphicFramePr>
          <p:nvPr>
            <p:extLst>
              <p:ext uri="{D42A27DB-BD31-4B8C-83A1-F6EECF244321}">
                <p14:modId xmlns:p14="http://schemas.microsoft.com/office/powerpoint/2010/main" val="4095026531"/>
              </p:ext>
            </p:extLst>
          </p:nvPr>
        </p:nvGraphicFramePr>
        <p:xfrm>
          <a:off x="6694227" y="1538976"/>
          <a:ext cx="4596376" cy="4701504"/>
        </p:xfrm>
        <a:graphic>
          <a:graphicData uri="http://schemas.openxmlformats.org/drawingml/2006/table">
            <a:tbl>
              <a:tblPr firstRow="1" bandRow="1">
                <a:tableStyleId>{5C22544A-7EE6-4342-B048-85BDC9FD1C3A}</a:tableStyleId>
              </a:tblPr>
              <a:tblGrid>
                <a:gridCol w="2772901">
                  <a:extLst>
                    <a:ext uri="{9D8B030D-6E8A-4147-A177-3AD203B41FA5}">
                      <a16:colId xmlns:a16="http://schemas.microsoft.com/office/drawing/2014/main" val="1610128087"/>
                    </a:ext>
                  </a:extLst>
                </a:gridCol>
                <a:gridCol w="1823475">
                  <a:extLst>
                    <a:ext uri="{9D8B030D-6E8A-4147-A177-3AD203B41FA5}">
                      <a16:colId xmlns:a16="http://schemas.microsoft.com/office/drawing/2014/main" val="171706944"/>
                    </a:ext>
                  </a:extLst>
                </a:gridCol>
              </a:tblGrid>
              <a:tr h="427410">
                <a:tc gridSpan="2">
                  <a:txBody>
                    <a:bodyPr/>
                    <a:lstStyle/>
                    <a:p>
                      <a:pPr algn="ctr"/>
                      <a:r>
                        <a:rPr lang="it-IT" sz="1600" dirty="0"/>
                        <a:t>Quantità Lavori</a:t>
                      </a:r>
                    </a:p>
                  </a:txBody>
                  <a:tcPr marL="90000" marR="90000" marT="46800" marB="46800" anchor="ctr"/>
                </a:tc>
                <a:tc hMerge="1">
                  <a:txBody>
                    <a:bodyPr/>
                    <a:lstStyle/>
                    <a:p>
                      <a:endParaRPr lang="it-IT"/>
                    </a:p>
                  </a:txBody>
                  <a:tcPr/>
                </a:tc>
                <a:extLst>
                  <a:ext uri="{0D108BD9-81ED-4DB2-BD59-A6C34878D82A}">
                    <a16:rowId xmlns:a16="http://schemas.microsoft.com/office/drawing/2014/main" val="2255424611"/>
                  </a:ext>
                </a:extLst>
              </a:tr>
              <a:tr h="38855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it-IT" sz="1400" kern="1200" dirty="0">
                          <a:solidFill>
                            <a:schemeClr val="dk1"/>
                          </a:solidFill>
                          <a:latin typeface="+mn-lt"/>
                          <a:ea typeface="+mn-ea"/>
                          <a:cs typeface="+mn-cs"/>
                        </a:rPr>
                        <a:t>Scavi all’aperto</a:t>
                      </a:r>
                    </a:p>
                  </a:txBody>
                  <a:tcPr marL="90000" marR="90000" marT="46800" marB="4680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it-IT" sz="1400" kern="1200" dirty="0">
                          <a:solidFill>
                            <a:schemeClr val="dk1"/>
                          </a:solidFill>
                          <a:latin typeface="+mn-lt"/>
                          <a:ea typeface="+mn-ea"/>
                          <a:cs typeface="+mn-cs"/>
                        </a:rPr>
                        <a:t>~ 200.000 mc</a:t>
                      </a:r>
                    </a:p>
                  </a:txBody>
                  <a:tcPr marL="90000" marR="90000" marT="46800" marB="46800" anchor="ctr"/>
                </a:tc>
                <a:extLst>
                  <a:ext uri="{0D108BD9-81ED-4DB2-BD59-A6C34878D82A}">
                    <a16:rowId xmlns:a16="http://schemas.microsoft.com/office/drawing/2014/main" val="2331584971"/>
                  </a:ext>
                </a:extLst>
              </a:tr>
              <a:tr h="388554">
                <a:tc>
                  <a:txBody>
                    <a:bodyPr/>
                    <a:lstStyle/>
                    <a:p>
                      <a:pPr marL="0" algn="l" defTabSz="914400" rtl="0" eaLnBrk="1" fontAlgn="b" latinLnBrk="0" hangingPunct="1"/>
                      <a:r>
                        <a:rPr lang="it-IT" sz="1400" kern="1200" dirty="0">
                          <a:solidFill>
                            <a:schemeClr val="dk1"/>
                          </a:solidFill>
                          <a:latin typeface="+mn-lt"/>
                          <a:ea typeface="+mn-ea"/>
                          <a:cs typeface="+mn-cs"/>
                        </a:rPr>
                        <a:t>Scavi in galleria</a:t>
                      </a:r>
                    </a:p>
                  </a:txBody>
                  <a:tcPr marL="90000" marR="90000" marT="46800" marB="46800" anchor="ctr"/>
                </a:tc>
                <a:tc>
                  <a:txBody>
                    <a:bodyPr/>
                    <a:lstStyle/>
                    <a:p>
                      <a:pPr marL="0" algn="r" defTabSz="914400" rtl="0" eaLnBrk="1" fontAlgn="b" latinLnBrk="0" hangingPunct="1"/>
                      <a:r>
                        <a:rPr lang="it-IT" sz="1400" kern="1200" dirty="0">
                          <a:solidFill>
                            <a:schemeClr val="dk1"/>
                          </a:solidFill>
                          <a:latin typeface="+mn-lt"/>
                          <a:ea typeface="+mn-ea"/>
                          <a:cs typeface="+mn-cs"/>
                        </a:rPr>
                        <a:t> ~ 760.000 mc</a:t>
                      </a:r>
                    </a:p>
                  </a:txBody>
                  <a:tcPr marL="90000" marR="90000" marT="46800" marB="46800" anchor="ctr"/>
                </a:tc>
                <a:extLst>
                  <a:ext uri="{0D108BD9-81ED-4DB2-BD59-A6C34878D82A}">
                    <a16:rowId xmlns:a16="http://schemas.microsoft.com/office/drawing/2014/main" val="2444845087"/>
                  </a:ext>
                </a:extLst>
              </a:tr>
              <a:tr h="388554">
                <a:tc>
                  <a:txBody>
                    <a:bodyPr/>
                    <a:lstStyle/>
                    <a:p>
                      <a:pPr marL="0" algn="l" defTabSz="914400" rtl="0" eaLnBrk="1" fontAlgn="b" latinLnBrk="0" hangingPunct="1"/>
                      <a:r>
                        <a:rPr lang="it-IT" sz="1400" kern="1200" dirty="0">
                          <a:solidFill>
                            <a:schemeClr val="dk1"/>
                          </a:solidFill>
                          <a:latin typeface="+mn-lt"/>
                          <a:ea typeface="+mn-ea"/>
                          <a:cs typeface="+mn-cs"/>
                        </a:rPr>
                        <a:t>Scavi opere d’arte</a:t>
                      </a:r>
                    </a:p>
                  </a:txBody>
                  <a:tcPr marL="90000" marR="90000" marT="46800" marB="46800" anchor="ctr"/>
                </a:tc>
                <a:tc>
                  <a:txBody>
                    <a:bodyPr/>
                    <a:lstStyle/>
                    <a:p>
                      <a:pPr marL="0" algn="r" defTabSz="914400" rtl="0" eaLnBrk="1" fontAlgn="b" latinLnBrk="0" hangingPunct="1"/>
                      <a:r>
                        <a:rPr lang="it-IT" sz="1400" kern="1200" dirty="0">
                          <a:solidFill>
                            <a:schemeClr val="dk1"/>
                          </a:solidFill>
                          <a:latin typeface="+mn-lt"/>
                          <a:ea typeface="+mn-ea"/>
                          <a:cs typeface="+mn-cs"/>
                        </a:rPr>
                        <a:t> ~ 20.000 mc</a:t>
                      </a:r>
                    </a:p>
                  </a:txBody>
                  <a:tcPr marL="90000" marR="90000" marT="46800" marB="46800" anchor="ctr"/>
                </a:tc>
                <a:extLst>
                  <a:ext uri="{0D108BD9-81ED-4DB2-BD59-A6C34878D82A}">
                    <a16:rowId xmlns:a16="http://schemas.microsoft.com/office/drawing/2014/main" val="3953802998"/>
                  </a:ext>
                </a:extLst>
              </a:tr>
              <a:tr h="388554">
                <a:tc>
                  <a:txBody>
                    <a:bodyPr/>
                    <a:lstStyle/>
                    <a:p>
                      <a:pPr marL="0" algn="l" defTabSz="914400" rtl="0" eaLnBrk="1" fontAlgn="b" latinLnBrk="0" hangingPunct="1"/>
                      <a:r>
                        <a:rPr lang="it-IT" sz="1400" kern="1200" dirty="0">
                          <a:solidFill>
                            <a:schemeClr val="dk1"/>
                          </a:solidFill>
                          <a:latin typeface="+mn-lt"/>
                          <a:ea typeface="+mn-ea"/>
                          <a:cs typeface="+mn-cs"/>
                        </a:rPr>
                        <a:t>Demolizioni</a:t>
                      </a:r>
                    </a:p>
                  </a:txBody>
                  <a:tcPr marL="90000" marR="90000" marT="46800" marB="46800" anchor="ctr"/>
                </a:tc>
                <a:tc>
                  <a:txBody>
                    <a:bodyPr/>
                    <a:lstStyle/>
                    <a:p>
                      <a:pPr marL="0" algn="r" defTabSz="914400" rtl="0" eaLnBrk="1" fontAlgn="b" latinLnBrk="0" hangingPunct="1"/>
                      <a:r>
                        <a:rPr lang="it-IT" sz="1400" kern="1200" dirty="0">
                          <a:solidFill>
                            <a:schemeClr val="dk1"/>
                          </a:solidFill>
                          <a:latin typeface="+mn-lt"/>
                          <a:ea typeface="+mn-ea"/>
                          <a:cs typeface="+mn-cs"/>
                        </a:rPr>
                        <a:t>~ 22.000 mc</a:t>
                      </a:r>
                    </a:p>
                  </a:txBody>
                  <a:tcPr marL="90000" marR="90000" marT="46800" marB="46800" anchor="ctr"/>
                </a:tc>
                <a:extLst>
                  <a:ext uri="{0D108BD9-81ED-4DB2-BD59-A6C34878D82A}">
                    <a16:rowId xmlns:a16="http://schemas.microsoft.com/office/drawing/2014/main" val="569154396"/>
                  </a:ext>
                </a:extLst>
              </a:tr>
              <a:tr h="388554">
                <a:tc>
                  <a:txBody>
                    <a:bodyPr/>
                    <a:lstStyle/>
                    <a:p>
                      <a:pPr marL="0" algn="l" defTabSz="914400" rtl="0" eaLnBrk="1" fontAlgn="b" latinLnBrk="0" hangingPunct="1"/>
                      <a:r>
                        <a:rPr lang="it-IT" sz="1400" kern="1200" dirty="0">
                          <a:solidFill>
                            <a:schemeClr val="dk1"/>
                          </a:solidFill>
                          <a:latin typeface="+mn-lt"/>
                          <a:ea typeface="+mn-ea"/>
                          <a:cs typeface="+mn-cs"/>
                        </a:rPr>
                        <a:t>Calcestruzzo</a:t>
                      </a:r>
                    </a:p>
                  </a:txBody>
                  <a:tcPr marL="90000" marR="90000" marT="46800" marB="46800" anchor="ctr"/>
                </a:tc>
                <a:tc>
                  <a:txBody>
                    <a:bodyPr/>
                    <a:lstStyle/>
                    <a:p>
                      <a:pPr marL="0" algn="r" defTabSz="914400" rtl="0" eaLnBrk="1" fontAlgn="b" latinLnBrk="0" hangingPunct="1"/>
                      <a:r>
                        <a:rPr lang="it-IT" sz="1400" kern="1200" dirty="0">
                          <a:solidFill>
                            <a:schemeClr val="dk1"/>
                          </a:solidFill>
                          <a:latin typeface="+mn-lt"/>
                          <a:ea typeface="+mn-ea"/>
                          <a:cs typeface="+mn-cs"/>
                        </a:rPr>
                        <a:t>~ 90.00 mc</a:t>
                      </a:r>
                    </a:p>
                  </a:txBody>
                  <a:tcPr marL="90000" marR="90000" marT="46800" marB="46800" anchor="ctr"/>
                </a:tc>
                <a:extLst>
                  <a:ext uri="{0D108BD9-81ED-4DB2-BD59-A6C34878D82A}">
                    <a16:rowId xmlns:a16="http://schemas.microsoft.com/office/drawing/2014/main" val="614491630"/>
                  </a:ext>
                </a:extLst>
              </a:tr>
              <a:tr h="388554">
                <a:tc>
                  <a:txBody>
                    <a:bodyPr/>
                    <a:lstStyle/>
                    <a:p>
                      <a:pPr marL="0" algn="l" defTabSz="914400" rtl="0" eaLnBrk="1" fontAlgn="b" latinLnBrk="0" hangingPunct="1"/>
                      <a:r>
                        <a:rPr lang="it-IT" sz="1400" kern="1200" dirty="0">
                          <a:solidFill>
                            <a:schemeClr val="dk1"/>
                          </a:solidFill>
                          <a:latin typeface="+mn-lt"/>
                          <a:ea typeface="+mn-ea"/>
                          <a:cs typeface="+mn-cs"/>
                        </a:rPr>
                        <a:t>Acciaio</a:t>
                      </a:r>
                    </a:p>
                  </a:txBody>
                  <a:tcPr marL="90000" marR="90000" marT="46800" marB="46800" anchor="ctr"/>
                </a:tc>
                <a:tc>
                  <a:txBody>
                    <a:bodyPr/>
                    <a:lstStyle/>
                    <a:p>
                      <a:pPr marL="0" algn="r" defTabSz="914400" rtl="0" eaLnBrk="1" fontAlgn="b" latinLnBrk="0" hangingPunct="1"/>
                      <a:r>
                        <a:rPr lang="it-IT" sz="1400" kern="1200" dirty="0">
                          <a:solidFill>
                            <a:schemeClr val="dk1"/>
                          </a:solidFill>
                          <a:latin typeface="+mn-lt"/>
                          <a:ea typeface="+mn-ea"/>
                          <a:cs typeface="+mn-cs"/>
                        </a:rPr>
                        <a:t>~ 33.000 t</a:t>
                      </a:r>
                    </a:p>
                  </a:txBody>
                  <a:tcPr marL="90000" marR="90000" marT="46800" marB="46800" anchor="ctr"/>
                </a:tc>
                <a:extLst>
                  <a:ext uri="{0D108BD9-81ED-4DB2-BD59-A6C34878D82A}">
                    <a16:rowId xmlns:a16="http://schemas.microsoft.com/office/drawing/2014/main" val="1466111260"/>
                  </a:ext>
                </a:extLst>
              </a:tr>
              <a:tr h="388554">
                <a:tc>
                  <a:txBody>
                    <a:bodyPr/>
                    <a:lstStyle/>
                    <a:p>
                      <a:pPr marL="0" algn="l" defTabSz="914400" rtl="0" eaLnBrk="1" fontAlgn="b" latinLnBrk="0" hangingPunct="1"/>
                      <a:r>
                        <a:rPr lang="it-IT" sz="1400" kern="1200">
                          <a:solidFill>
                            <a:schemeClr val="dk1"/>
                          </a:solidFill>
                          <a:latin typeface="+mn-lt"/>
                          <a:ea typeface="+mn-ea"/>
                          <a:cs typeface="+mn-cs"/>
                        </a:rPr>
                        <a:t>Rilevati</a:t>
                      </a:r>
                    </a:p>
                  </a:txBody>
                  <a:tcPr marL="90000" marR="90000" marT="46800" marB="46800" anchor="ctr"/>
                </a:tc>
                <a:tc>
                  <a:txBody>
                    <a:bodyPr/>
                    <a:lstStyle/>
                    <a:p>
                      <a:pPr marL="0" algn="r" defTabSz="914400" rtl="0" eaLnBrk="1" fontAlgn="b" latinLnBrk="0" hangingPunct="1"/>
                      <a:r>
                        <a:rPr lang="it-IT" sz="1400" kern="1200" dirty="0">
                          <a:solidFill>
                            <a:schemeClr val="dk1"/>
                          </a:solidFill>
                          <a:latin typeface="+mn-lt"/>
                          <a:ea typeface="+mn-ea"/>
                          <a:cs typeface="+mn-cs"/>
                        </a:rPr>
                        <a:t> ~ 1.500.000 mc</a:t>
                      </a:r>
                    </a:p>
                  </a:txBody>
                  <a:tcPr marL="90000" marR="90000" marT="46800" marB="46800" anchor="ctr"/>
                </a:tc>
                <a:extLst>
                  <a:ext uri="{0D108BD9-81ED-4DB2-BD59-A6C34878D82A}">
                    <a16:rowId xmlns:a16="http://schemas.microsoft.com/office/drawing/2014/main" val="2094446789"/>
                  </a:ext>
                </a:extLst>
              </a:tr>
              <a:tr h="388554">
                <a:tc>
                  <a:txBody>
                    <a:bodyPr/>
                    <a:lstStyle/>
                    <a:p>
                      <a:pPr marL="0" algn="l" defTabSz="914400" rtl="0" eaLnBrk="1" fontAlgn="b" latinLnBrk="0" hangingPunct="1"/>
                      <a:r>
                        <a:rPr lang="it-IT" sz="1400" kern="1200">
                          <a:solidFill>
                            <a:schemeClr val="dk1"/>
                          </a:solidFill>
                          <a:latin typeface="+mn-lt"/>
                          <a:ea typeface="+mn-ea"/>
                          <a:cs typeface="+mn-cs"/>
                        </a:rPr>
                        <a:t>Pavimentazioni</a:t>
                      </a:r>
                    </a:p>
                  </a:txBody>
                  <a:tcPr marL="90000" marR="90000" marT="46800" marB="46800" anchor="ctr"/>
                </a:tc>
                <a:tc>
                  <a:txBody>
                    <a:bodyPr/>
                    <a:lstStyle/>
                    <a:p>
                      <a:pPr marL="0" algn="r" defTabSz="914400" rtl="0" eaLnBrk="1" fontAlgn="b" latinLnBrk="0" hangingPunct="1"/>
                      <a:r>
                        <a:rPr lang="it-IT" sz="1400" kern="1200" dirty="0">
                          <a:solidFill>
                            <a:schemeClr val="dk1"/>
                          </a:solidFill>
                          <a:latin typeface="+mn-lt"/>
                          <a:ea typeface="+mn-ea"/>
                          <a:cs typeface="+mn-cs"/>
                        </a:rPr>
                        <a:t>    ~ 110.000 mc</a:t>
                      </a:r>
                    </a:p>
                  </a:txBody>
                  <a:tcPr marL="90000" marR="90000" marT="46800" marB="46800" anchor="ctr"/>
                </a:tc>
                <a:extLst>
                  <a:ext uri="{0D108BD9-81ED-4DB2-BD59-A6C34878D82A}">
                    <a16:rowId xmlns:a16="http://schemas.microsoft.com/office/drawing/2014/main" val="310674126"/>
                  </a:ext>
                </a:extLst>
              </a:tr>
              <a:tr h="388554">
                <a:tc>
                  <a:txBody>
                    <a:bodyPr/>
                    <a:lstStyle/>
                    <a:p>
                      <a:pPr marL="0" algn="l" defTabSz="914400" rtl="0" eaLnBrk="1" fontAlgn="b" latinLnBrk="0" hangingPunct="1"/>
                      <a:r>
                        <a:rPr lang="it-IT" sz="1400" kern="1200" dirty="0">
                          <a:solidFill>
                            <a:schemeClr val="dk1"/>
                          </a:solidFill>
                          <a:latin typeface="+mn-lt"/>
                          <a:ea typeface="+mn-ea"/>
                          <a:cs typeface="+mn-cs"/>
                        </a:rPr>
                        <a:t>Palificazioni</a:t>
                      </a:r>
                    </a:p>
                  </a:txBody>
                  <a:tcPr marL="90000" marR="90000" marT="46800" marB="46800" anchor="ctr"/>
                </a:tc>
                <a:tc>
                  <a:txBody>
                    <a:bodyPr/>
                    <a:lstStyle/>
                    <a:p>
                      <a:pPr marL="0" algn="r" defTabSz="914400" rtl="0" eaLnBrk="1" fontAlgn="b" latinLnBrk="0" hangingPunct="1"/>
                      <a:r>
                        <a:rPr lang="it-IT" sz="1400" kern="1200" dirty="0">
                          <a:solidFill>
                            <a:schemeClr val="dk1"/>
                          </a:solidFill>
                          <a:latin typeface="+mn-lt"/>
                          <a:ea typeface="+mn-ea"/>
                          <a:cs typeface="+mn-cs"/>
                        </a:rPr>
                        <a:t>~ 145 km</a:t>
                      </a:r>
                    </a:p>
                  </a:txBody>
                  <a:tcPr marL="90000" marR="90000" marT="46800" marB="46800" anchor="ctr"/>
                </a:tc>
                <a:extLst>
                  <a:ext uri="{0D108BD9-81ED-4DB2-BD59-A6C34878D82A}">
                    <a16:rowId xmlns:a16="http://schemas.microsoft.com/office/drawing/2014/main" val="1924161600"/>
                  </a:ext>
                </a:extLst>
              </a:tr>
              <a:tr h="388554">
                <a:tc>
                  <a:txBody>
                    <a:bodyPr/>
                    <a:lstStyle/>
                    <a:p>
                      <a:pPr marL="0" algn="l" defTabSz="914400" rtl="0" eaLnBrk="1" fontAlgn="b" latinLnBrk="0" hangingPunct="1"/>
                      <a:r>
                        <a:rPr lang="it-IT" sz="1400" kern="1200" dirty="0">
                          <a:solidFill>
                            <a:schemeClr val="dk1"/>
                          </a:solidFill>
                          <a:latin typeface="+mn-lt"/>
                          <a:ea typeface="+mn-ea"/>
                          <a:cs typeface="+mn-cs"/>
                        </a:rPr>
                        <a:t>Opere a verde</a:t>
                      </a:r>
                    </a:p>
                  </a:txBody>
                  <a:tcPr marL="90000" marR="90000" marT="46800" marB="46800" anchor="ctr"/>
                </a:tc>
                <a:tc>
                  <a:txBody>
                    <a:bodyPr/>
                    <a:lstStyle/>
                    <a:p>
                      <a:pPr marL="0" algn="r" defTabSz="914400" rtl="0" eaLnBrk="1" fontAlgn="b" latinLnBrk="0" hangingPunct="1"/>
                      <a:r>
                        <a:rPr lang="it-IT" sz="1400" kern="1200" dirty="0">
                          <a:solidFill>
                            <a:schemeClr val="dk1"/>
                          </a:solidFill>
                          <a:latin typeface="+mn-lt"/>
                          <a:ea typeface="+mn-ea"/>
                          <a:cs typeface="+mn-cs"/>
                        </a:rPr>
                        <a:t>~ 18 ha</a:t>
                      </a:r>
                    </a:p>
                  </a:txBody>
                  <a:tcPr marL="90000" marR="90000" marT="46800" marB="46800" anchor="ctr"/>
                </a:tc>
                <a:extLst>
                  <a:ext uri="{0D108BD9-81ED-4DB2-BD59-A6C34878D82A}">
                    <a16:rowId xmlns:a16="http://schemas.microsoft.com/office/drawing/2014/main" val="3345915916"/>
                  </a:ext>
                </a:extLst>
              </a:tr>
              <a:tr h="388554">
                <a:tc>
                  <a:txBody>
                    <a:bodyPr/>
                    <a:lstStyle/>
                    <a:p>
                      <a:pPr marL="0" algn="l" defTabSz="914400" rtl="0" eaLnBrk="1" fontAlgn="b" latinLnBrk="0" hangingPunct="1"/>
                      <a:r>
                        <a:rPr lang="it-IT" sz="1400" kern="1200" dirty="0">
                          <a:solidFill>
                            <a:schemeClr val="dk1"/>
                          </a:solidFill>
                          <a:latin typeface="+mn-lt"/>
                          <a:ea typeface="+mn-ea"/>
                          <a:cs typeface="+mn-cs"/>
                        </a:rPr>
                        <a:t>Piantumazioni</a:t>
                      </a:r>
                    </a:p>
                  </a:txBody>
                  <a:tcPr marL="90000" marR="90000" marT="46800" marB="46800" anchor="ctr"/>
                </a:tc>
                <a:tc>
                  <a:txBody>
                    <a:bodyPr/>
                    <a:lstStyle/>
                    <a:p>
                      <a:pPr marL="0" algn="r" defTabSz="914400" rtl="0" eaLnBrk="1" fontAlgn="b" latinLnBrk="0" hangingPunct="1"/>
                      <a:r>
                        <a:rPr lang="it-IT" sz="1400" kern="1200" dirty="0">
                          <a:solidFill>
                            <a:schemeClr val="dk1"/>
                          </a:solidFill>
                          <a:latin typeface="+mn-lt"/>
                          <a:ea typeface="+mn-ea"/>
                          <a:cs typeface="+mn-cs"/>
                        </a:rPr>
                        <a:t>~ 7.700</a:t>
                      </a:r>
                    </a:p>
                  </a:txBody>
                  <a:tcPr marL="90000" marR="90000" marT="46800" marB="46800" anchor="ctr"/>
                </a:tc>
                <a:extLst>
                  <a:ext uri="{0D108BD9-81ED-4DB2-BD59-A6C34878D82A}">
                    <a16:rowId xmlns:a16="http://schemas.microsoft.com/office/drawing/2014/main" val="393769110"/>
                  </a:ext>
                </a:extLst>
              </a:tr>
            </a:tbl>
          </a:graphicData>
        </a:graphic>
      </p:graphicFrame>
      <p:sp>
        <p:nvSpPr>
          <p:cNvPr id="23" name="Segnaposto testo 8">
            <a:extLst>
              <a:ext uri="{FF2B5EF4-FFF2-40B4-BE49-F238E27FC236}">
                <a16:creationId xmlns:a16="http://schemas.microsoft.com/office/drawing/2014/main" id="{6AA0B7CF-71D9-4C14-89B1-F0976BC8FDE3}"/>
              </a:ext>
            </a:extLst>
          </p:cNvPr>
          <p:cNvSpPr txBox="1">
            <a:spLocks/>
          </p:cNvSpPr>
          <p:nvPr/>
        </p:nvSpPr>
        <p:spPr>
          <a:xfrm>
            <a:off x="6605241" y="1047469"/>
            <a:ext cx="4652704" cy="424056"/>
          </a:xfrm>
          <a:prstGeom prst="rect">
            <a:avLst/>
          </a:prstGeom>
        </p:spPr>
        <p:txBody>
          <a:bodyPr vert="horz" lIns="91440" tIns="45720" rIns="91440" bIns="45720" rtlCol="0" anchor="b">
            <a:no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Quantità Lavori</a:t>
            </a:r>
          </a:p>
        </p:txBody>
      </p:sp>
    </p:spTree>
    <p:extLst>
      <p:ext uri="{BB962C8B-B14F-4D97-AF65-F5344CB8AC3E}">
        <p14:creationId xmlns:p14="http://schemas.microsoft.com/office/powerpoint/2010/main" val="24416095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8">
            <a:extLst>
              <a:ext uri="{FF2B5EF4-FFF2-40B4-BE49-F238E27FC236}">
                <a16:creationId xmlns:a16="http://schemas.microsoft.com/office/drawing/2014/main" id="{159E0B95-1159-47B6-93D4-DD9555426108}"/>
              </a:ext>
            </a:extLst>
          </p:cNvPr>
          <p:cNvSpPr txBox="1">
            <a:spLocks/>
          </p:cNvSpPr>
          <p:nvPr/>
        </p:nvSpPr>
        <p:spPr>
          <a:xfrm>
            <a:off x="1022381" y="1093910"/>
            <a:ext cx="6429005" cy="424056"/>
          </a:xfrm>
          <a:prstGeom prst="rect">
            <a:avLst/>
          </a:prstGeom>
        </p:spPr>
        <p:txBody>
          <a:bodyPr vert="horz" lIns="91440" tIns="45720" rIns="91440" bIns="45720" rtlCol="0" anchor="b">
            <a:no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Opere principali</a:t>
            </a:r>
          </a:p>
        </p:txBody>
      </p:sp>
      <p:sp>
        <p:nvSpPr>
          <p:cNvPr id="6" name="Segnaposto contenuto 2">
            <a:extLst>
              <a:ext uri="{FF2B5EF4-FFF2-40B4-BE49-F238E27FC236}">
                <a16:creationId xmlns:a16="http://schemas.microsoft.com/office/drawing/2014/main" id="{1B522F23-A424-4F12-8F10-3D071758CE37}"/>
              </a:ext>
            </a:extLst>
          </p:cNvPr>
          <p:cNvSpPr txBox="1">
            <a:spLocks/>
          </p:cNvSpPr>
          <p:nvPr/>
        </p:nvSpPr>
        <p:spPr>
          <a:xfrm>
            <a:off x="452930" y="1662282"/>
            <a:ext cx="11292852" cy="123713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just">
              <a:lnSpc>
                <a:spcPct val="150000"/>
              </a:lnSpc>
              <a:spcBef>
                <a:spcPts val="600"/>
              </a:spcBef>
              <a:spcAft>
                <a:spcPts val="800"/>
              </a:spcAft>
              <a:buFont typeface="+mj-lt"/>
              <a:buAutoNum type="arabicPeriod"/>
              <a:tabLst>
                <a:tab pos="457200" algn="l"/>
              </a:tabLst>
            </a:pPr>
            <a:r>
              <a:rPr lang="it-IT" sz="1200" b="1" dirty="0">
                <a:solidFill>
                  <a:srgbClr val="000000"/>
                </a:solidFill>
                <a:effectLst/>
                <a:ea typeface="Arial" panose="020B0604020202020204" pitchFamily="34" charset="0"/>
                <a:cs typeface="Calibri" panose="020F0502020204030204" pitchFamily="34" charset="0"/>
              </a:rPr>
              <a:t>La variante di tracciato dell’autostrada A12 esistente </a:t>
            </a:r>
            <a:r>
              <a:rPr lang="it-IT" sz="1200" dirty="0">
                <a:solidFill>
                  <a:srgbClr val="000000"/>
                </a:solidFill>
                <a:effectLst/>
                <a:ea typeface="Arial" panose="020B0604020202020204" pitchFamily="34" charset="0"/>
                <a:cs typeface="Calibri" panose="020F0502020204030204" pitchFamily="34" charset="0"/>
              </a:rPr>
              <a:t>tra le progressive chilometriche 26+280 e 27+194, è stata progettata evitando il più possibile interferenze con il versante a monte dell’autostrada esistente. L’intervento prevede la deviazione dell’asse stradale e l’adeguamento della sezione trasversale. </a:t>
            </a:r>
            <a:r>
              <a:rPr lang="it-IT" sz="1200" dirty="0">
                <a:solidFill>
                  <a:srgbClr val="000000"/>
                </a:solidFill>
                <a:effectLst/>
                <a:ea typeface="Calibri" panose="020F0502020204030204" pitchFamily="34" charset="0"/>
                <a:cs typeface="Times New Roman" panose="02020603050405020304" pitchFamily="18" charset="0"/>
              </a:rPr>
              <a:t>La sezione tipo stradale prevede, escludendo le corsie specializzate, una piattaforma minima di 17.20 metri di larghezza, organizzata in due carreggiate separate da un margine interno minimo di 2.20 m, ciascuna costituita da due corsie di marcia da 3.75 m fiancheggiate da banchine di larghezza minima 0.70 m. </a:t>
            </a:r>
          </a:p>
        </p:txBody>
      </p:sp>
      <p:sp>
        <p:nvSpPr>
          <p:cNvPr id="20" name="Titolo 6">
            <a:extLst>
              <a:ext uri="{FF2B5EF4-FFF2-40B4-BE49-F238E27FC236}">
                <a16:creationId xmlns:a16="http://schemas.microsoft.com/office/drawing/2014/main" id="{F4B312A5-AB17-4CA0-905E-D7BAFAB4FFD6}"/>
              </a:ext>
            </a:extLst>
          </p:cNvPr>
          <p:cNvSpPr>
            <a:spLocks noGrp="1"/>
          </p:cNvSpPr>
          <p:nvPr>
            <p:ph type="title"/>
          </p:nvPr>
        </p:nvSpPr>
        <p:spPr>
          <a:xfrm>
            <a:off x="258416" y="368701"/>
            <a:ext cx="10515600" cy="418646"/>
          </a:xfrm>
        </p:spPr>
        <p:txBody>
          <a:bodyPr>
            <a:normAutofit fontScale="90000"/>
          </a:bodyPr>
          <a:lstStyle/>
          <a:p>
            <a:r>
              <a:rPr lang="it-IT" sz="3200" b="1" dirty="0"/>
              <a:t>05. Descrizione dell’intervento</a:t>
            </a:r>
          </a:p>
        </p:txBody>
      </p:sp>
      <p:sp>
        <p:nvSpPr>
          <p:cNvPr id="21" name="Rettangolo 20">
            <a:extLst>
              <a:ext uri="{FF2B5EF4-FFF2-40B4-BE49-F238E27FC236}">
                <a16:creationId xmlns:a16="http://schemas.microsoft.com/office/drawing/2014/main" id="{DDEBEF42-FB5F-40AA-A6A7-5860EC8CB590}"/>
              </a:ext>
            </a:extLst>
          </p:cNvPr>
          <p:cNvSpPr/>
          <p:nvPr/>
        </p:nvSpPr>
        <p:spPr>
          <a:xfrm>
            <a:off x="258416" y="825526"/>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Ovale 17">
            <a:extLst>
              <a:ext uri="{FF2B5EF4-FFF2-40B4-BE49-F238E27FC236}">
                <a16:creationId xmlns:a16="http://schemas.microsoft.com/office/drawing/2014/main" id="{2C8F8A82-1196-4910-A343-5924609618FF}"/>
              </a:ext>
            </a:extLst>
          </p:cNvPr>
          <p:cNvSpPr/>
          <p:nvPr/>
        </p:nvSpPr>
        <p:spPr>
          <a:xfrm>
            <a:off x="452658" y="1023267"/>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19" name="Picture 6">
            <a:extLst>
              <a:ext uri="{FF2B5EF4-FFF2-40B4-BE49-F238E27FC236}">
                <a16:creationId xmlns:a16="http://schemas.microsoft.com/office/drawing/2014/main" id="{55F0DDAB-04B8-4A94-A13E-272D5C61F68B}"/>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493280" y="938321"/>
            <a:ext cx="463296" cy="463296"/>
          </a:xfrm>
          <a:prstGeom prst="rect">
            <a:avLst/>
          </a:prstGeom>
          <a:noFill/>
          <a:extLst>
            <a:ext uri="{909E8E84-426E-40DD-AFC4-6F175D3DCCD1}">
              <a14:hiddenFill xmlns:a14="http://schemas.microsoft.com/office/drawing/2010/main">
                <a:solidFill>
                  <a:srgbClr val="FFFFFF"/>
                </a:solidFill>
              </a14:hiddenFill>
            </a:ext>
          </a:extLst>
        </p:spPr>
      </p:pic>
      <p:pic>
        <p:nvPicPr>
          <p:cNvPr id="8" name="Immagine 7">
            <a:extLst>
              <a:ext uri="{FF2B5EF4-FFF2-40B4-BE49-F238E27FC236}">
                <a16:creationId xmlns:a16="http://schemas.microsoft.com/office/drawing/2014/main" id="{25A783B5-D626-40B0-A56E-43CB5834BAF6}"/>
              </a:ext>
            </a:extLst>
          </p:cNvPr>
          <p:cNvPicPr>
            <a:picLocks noChangeAspect="1"/>
          </p:cNvPicPr>
          <p:nvPr/>
        </p:nvPicPr>
        <p:blipFill rotWithShape="1">
          <a:blip r:embed="rId4"/>
          <a:srcRect l="1646" t="21452"/>
          <a:stretch/>
        </p:blipFill>
        <p:spPr>
          <a:xfrm>
            <a:off x="530688" y="3178180"/>
            <a:ext cx="11292852" cy="3059523"/>
          </a:xfrm>
          <a:prstGeom prst="rect">
            <a:avLst/>
          </a:prstGeom>
        </p:spPr>
      </p:pic>
    </p:spTree>
    <p:extLst>
      <p:ext uri="{BB962C8B-B14F-4D97-AF65-F5344CB8AC3E}">
        <p14:creationId xmlns:p14="http://schemas.microsoft.com/office/powerpoint/2010/main" val="22805659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magine 10">
            <a:extLst>
              <a:ext uri="{FF2B5EF4-FFF2-40B4-BE49-F238E27FC236}">
                <a16:creationId xmlns:a16="http://schemas.microsoft.com/office/drawing/2014/main" id="{C7D11737-DE84-4232-BBBF-E136A7D076BD}"/>
              </a:ext>
            </a:extLst>
          </p:cNvPr>
          <p:cNvPicPr>
            <a:picLocks noChangeAspect="1"/>
          </p:cNvPicPr>
          <p:nvPr/>
        </p:nvPicPr>
        <p:blipFill rotWithShape="1">
          <a:blip r:embed="rId3"/>
          <a:srcRect l="9594" t="22311" r="7244" b="6696"/>
          <a:stretch/>
        </p:blipFill>
        <p:spPr>
          <a:xfrm>
            <a:off x="2855213" y="4675961"/>
            <a:ext cx="1959332" cy="1813739"/>
          </a:xfrm>
          <a:prstGeom prst="rect">
            <a:avLst/>
          </a:prstGeom>
        </p:spPr>
      </p:pic>
      <p:sp>
        <p:nvSpPr>
          <p:cNvPr id="5" name="Segnaposto testo 8">
            <a:extLst>
              <a:ext uri="{FF2B5EF4-FFF2-40B4-BE49-F238E27FC236}">
                <a16:creationId xmlns:a16="http://schemas.microsoft.com/office/drawing/2014/main" id="{159E0B95-1159-47B6-93D4-DD9555426108}"/>
              </a:ext>
            </a:extLst>
          </p:cNvPr>
          <p:cNvSpPr txBox="1">
            <a:spLocks/>
          </p:cNvSpPr>
          <p:nvPr/>
        </p:nvSpPr>
        <p:spPr>
          <a:xfrm>
            <a:off x="1022381" y="1093910"/>
            <a:ext cx="6429005" cy="424056"/>
          </a:xfrm>
          <a:prstGeom prst="rect">
            <a:avLst/>
          </a:prstGeom>
        </p:spPr>
        <p:txBody>
          <a:bodyPr vert="horz" lIns="91440" tIns="45720" rIns="91440" bIns="45720" rtlCol="0" anchor="b">
            <a:no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Opere principali</a:t>
            </a:r>
          </a:p>
        </p:txBody>
      </p:sp>
      <p:sp>
        <p:nvSpPr>
          <p:cNvPr id="20" name="Titolo 6">
            <a:extLst>
              <a:ext uri="{FF2B5EF4-FFF2-40B4-BE49-F238E27FC236}">
                <a16:creationId xmlns:a16="http://schemas.microsoft.com/office/drawing/2014/main" id="{F4B312A5-AB17-4CA0-905E-D7BAFAB4FFD6}"/>
              </a:ext>
            </a:extLst>
          </p:cNvPr>
          <p:cNvSpPr>
            <a:spLocks noGrp="1"/>
          </p:cNvSpPr>
          <p:nvPr>
            <p:ph type="title"/>
          </p:nvPr>
        </p:nvSpPr>
        <p:spPr>
          <a:xfrm>
            <a:off x="258416" y="368701"/>
            <a:ext cx="10515600" cy="418646"/>
          </a:xfrm>
        </p:spPr>
        <p:txBody>
          <a:bodyPr>
            <a:normAutofit fontScale="90000"/>
          </a:bodyPr>
          <a:lstStyle/>
          <a:p>
            <a:r>
              <a:rPr lang="it-IT" sz="3200" b="1" dirty="0"/>
              <a:t>05. Descrizione dell’intervento</a:t>
            </a:r>
          </a:p>
        </p:txBody>
      </p:sp>
      <p:sp>
        <p:nvSpPr>
          <p:cNvPr id="21" name="Rettangolo 20">
            <a:extLst>
              <a:ext uri="{FF2B5EF4-FFF2-40B4-BE49-F238E27FC236}">
                <a16:creationId xmlns:a16="http://schemas.microsoft.com/office/drawing/2014/main" id="{DDEBEF42-FB5F-40AA-A6A7-5860EC8CB590}"/>
              </a:ext>
            </a:extLst>
          </p:cNvPr>
          <p:cNvSpPr/>
          <p:nvPr/>
        </p:nvSpPr>
        <p:spPr>
          <a:xfrm>
            <a:off x="258416" y="825526"/>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Ovale 17">
            <a:extLst>
              <a:ext uri="{FF2B5EF4-FFF2-40B4-BE49-F238E27FC236}">
                <a16:creationId xmlns:a16="http://schemas.microsoft.com/office/drawing/2014/main" id="{2C8F8A82-1196-4910-A343-5924609618FF}"/>
              </a:ext>
            </a:extLst>
          </p:cNvPr>
          <p:cNvSpPr/>
          <p:nvPr/>
        </p:nvSpPr>
        <p:spPr>
          <a:xfrm>
            <a:off x="452658" y="1023267"/>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19" name="Picture 6">
            <a:extLst>
              <a:ext uri="{FF2B5EF4-FFF2-40B4-BE49-F238E27FC236}">
                <a16:creationId xmlns:a16="http://schemas.microsoft.com/office/drawing/2014/main" id="{55F0DDAB-04B8-4A94-A13E-272D5C61F68B}"/>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493280" y="938321"/>
            <a:ext cx="463296" cy="463296"/>
          </a:xfrm>
          <a:prstGeom prst="rect">
            <a:avLst/>
          </a:prstGeom>
          <a:noFill/>
          <a:extLst>
            <a:ext uri="{909E8E84-426E-40DD-AFC4-6F175D3DCCD1}">
              <a14:hiddenFill xmlns:a14="http://schemas.microsoft.com/office/drawing/2010/main">
                <a:solidFill>
                  <a:srgbClr val="FFFFFF"/>
                </a:solidFill>
              </a14:hiddenFill>
            </a:ext>
          </a:extLst>
        </p:spPr>
      </p:pic>
      <p:sp>
        <p:nvSpPr>
          <p:cNvPr id="10" name="CasellaDiTesto 9">
            <a:extLst>
              <a:ext uri="{FF2B5EF4-FFF2-40B4-BE49-F238E27FC236}">
                <a16:creationId xmlns:a16="http://schemas.microsoft.com/office/drawing/2014/main" id="{10DA23E8-9AF2-4D42-B14A-18D382C8599F}"/>
              </a:ext>
            </a:extLst>
          </p:cNvPr>
          <p:cNvSpPr txBox="1"/>
          <p:nvPr/>
        </p:nvSpPr>
        <p:spPr>
          <a:xfrm>
            <a:off x="450661" y="1677603"/>
            <a:ext cx="7518611" cy="3384324"/>
          </a:xfrm>
          <a:prstGeom prst="rect">
            <a:avLst/>
          </a:prstGeom>
          <a:noFill/>
        </p:spPr>
        <p:txBody>
          <a:bodyPr wrap="square">
            <a:spAutoFit/>
          </a:bodyPr>
          <a:lstStyle/>
          <a:p>
            <a:pPr algn="just">
              <a:lnSpc>
                <a:spcPct val="150000"/>
              </a:lnSpc>
            </a:pPr>
            <a:r>
              <a:rPr lang="it-IT" sz="1200" dirty="0">
                <a:solidFill>
                  <a:srgbClr val="003300"/>
                </a:solidFill>
              </a:rPr>
              <a:t>Il progetto prevede, inoltre, </a:t>
            </a:r>
            <a:r>
              <a:rPr lang="it-IT" sz="1200" b="1" dirty="0">
                <a:solidFill>
                  <a:srgbClr val="003300"/>
                </a:solidFill>
              </a:rPr>
              <a:t>la sistemazione del rio </a:t>
            </a:r>
            <a:r>
              <a:rPr lang="it-IT" sz="1200" b="1" dirty="0" err="1">
                <a:solidFill>
                  <a:srgbClr val="003300"/>
                </a:solidFill>
              </a:rPr>
              <a:t>Tangon</a:t>
            </a:r>
            <a:r>
              <a:rPr lang="it-IT" sz="1200" dirty="0">
                <a:solidFill>
                  <a:srgbClr val="003300"/>
                </a:solidFill>
              </a:rPr>
              <a:t>, che attraversa l’A12  tramite un tombino ovoidale (diametro orizzontale di 3,2 m e diametro verticale di 3,85 m) in ondulato metallico (ARMCO), di lunghezza 340 m, con pendenza di fondo pari al 4%. L’intervento, che prevede la deviazione del corso d’acqua a valle dell’attraversamento autostradale esistente e la riduzione delle pendenze mediante sistemazione a salti di fondo di pendenza pari al 2%, è costituito da:</a:t>
            </a:r>
          </a:p>
          <a:p>
            <a:pPr marL="171450" indent="-171450" algn="just">
              <a:lnSpc>
                <a:spcPct val="150000"/>
              </a:lnSpc>
              <a:buFont typeface="Arial" panose="020B0604020202020204" pitchFamily="34" charset="0"/>
              <a:buChar char="•"/>
            </a:pPr>
            <a:r>
              <a:rPr lang="it-IT" sz="1200" dirty="0">
                <a:solidFill>
                  <a:srgbClr val="003300"/>
                </a:solidFill>
              </a:rPr>
              <a:t>un tombino scatolare (</a:t>
            </a:r>
            <a:r>
              <a:rPr lang="it-IT" sz="1200" dirty="0" err="1">
                <a:solidFill>
                  <a:srgbClr val="003300"/>
                </a:solidFill>
              </a:rPr>
              <a:t>BxH</a:t>
            </a:r>
            <a:r>
              <a:rPr lang="it-IT" sz="1200" dirty="0">
                <a:solidFill>
                  <a:srgbClr val="003300"/>
                </a:solidFill>
              </a:rPr>
              <a:t>=4,0x4,0 m) di lunghezza 88,0 m, che si innesta  in quello esistente; </a:t>
            </a:r>
          </a:p>
          <a:p>
            <a:pPr marL="171450" indent="-171450" algn="just">
              <a:lnSpc>
                <a:spcPct val="150000"/>
              </a:lnSpc>
              <a:buFont typeface="Arial" panose="020B0604020202020204" pitchFamily="34" charset="0"/>
              <a:buChar char="•"/>
            </a:pPr>
            <a:r>
              <a:rPr lang="it-IT" sz="1200" dirty="0">
                <a:solidFill>
                  <a:srgbClr val="003300"/>
                </a:solidFill>
              </a:rPr>
              <a:t>un canale rettangolare con fondo rivestito in massi di cava, di dimensioni  equivalenti allo scatolare e di estensione di circa 60 m; </a:t>
            </a:r>
          </a:p>
          <a:p>
            <a:pPr marL="171450" indent="-171450" algn="just">
              <a:lnSpc>
                <a:spcPct val="150000"/>
              </a:lnSpc>
              <a:buFont typeface="Arial" panose="020B0604020202020204" pitchFamily="34" charset="0"/>
              <a:buChar char="•"/>
            </a:pPr>
            <a:r>
              <a:rPr lang="it-IT" sz="1200" dirty="0">
                <a:solidFill>
                  <a:srgbClr val="003300"/>
                </a:solidFill>
              </a:rPr>
              <a:t>un tratto in gabbioni metallici di altezza variabile tra 2,7 - 3,7 m e lunghezza pari a circa 530 m. </a:t>
            </a:r>
          </a:p>
          <a:p>
            <a:pPr marL="171450" indent="-171450" algn="just">
              <a:lnSpc>
                <a:spcPct val="150000"/>
              </a:lnSpc>
              <a:buFont typeface="Arial" panose="020B0604020202020204" pitchFamily="34" charset="0"/>
              <a:buChar char="•"/>
            </a:pPr>
            <a:r>
              <a:rPr lang="it-IT" sz="1200" dirty="0">
                <a:solidFill>
                  <a:srgbClr val="003300"/>
                </a:solidFill>
              </a:rPr>
              <a:t>una vasca terminale di dissipazione dell’energia della corrente di piena.</a:t>
            </a:r>
          </a:p>
          <a:p>
            <a:pPr marL="171450" indent="-171450" algn="just">
              <a:lnSpc>
                <a:spcPct val="150000"/>
              </a:lnSpc>
              <a:buFont typeface="Arial" panose="020B0604020202020204" pitchFamily="34" charset="0"/>
              <a:buChar char="•"/>
            </a:pPr>
            <a:endParaRPr lang="it-IT" sz="1200" dirty="0">
              <a:solidFill>
                <a:srgbClr val="003300"/>
              </a:solidFill>
            </a:endParaRPr>
          </a:p>
          <a:p>
            <a:pPr marL="171450" indent="-171450" algn="just">
              <a:lnSpc>
                <a:spcPct val="150000"/>
              </a:lnSpc>
              <a:buFont typeface="Arial" panose="020B0604020202020204" pitchFamily="34" charset="0"/>
              <a:buChar char="•"/>
            </a:pPr>
            <a:endParaRPr lang="it-IT" sz="1200" dirty="0">
              <a:solidFill>
                <a:srgbClr val="003300"/>
              </a:solidFill>
            </a:endParaRPr>
          </a:p>
        </p:txBody>
      </p:sp>
      <p:pic>
        <p:nvPicPr>
          <p:cNvPr id="6" name="Immagine 5">
            <a:extLst>
              <a:ext uri="{FF2B5EF4-FFF2-40B4-BE49-F238E27FC236}">
                <a16:creationId xmlns:a16="http://schemas.microsoft.com/office/drawing/2014/main" id="{F9AD66CC-21E2-46C9-8AFD-A38F324C5951}"/>
              </a:ext>
            </a:extLst>
          </p:cNvPr>
          <p:cNvPicPr>
            <a:picLocks noChangeAspect="1"/>
          </p:cNvPicPr>
          <p:nvPr/>
        </p:nvPicPr>
        <p:blipFill>
          <a:blip r:embed="rId5"/>
          <a:stretch>
            <a:fillRect/>
          </a:stretch>
        </p:blipFill>
        <p:spPr>
          <a:xfrm>
            <a:off x="7969272" y="1733493"/>
            <a:ext cx="3772067" cy="3440214"/>
          </a:xfrm>
          <a:prstGeom prst="rect">
            <a:avLst/>
          </a:prstGeom>
        </p:spPr>
      </p:pic>
      <p:pic>
        <p:nvPicPr>
          <p:cNvPr id="8" name="Immagine 7">
            <a:extLst>
              <a:ext uri="{FF2B5EF4-FFF2-40B4-BE49-F238E27FC236}">
                <a16:creationId xmlns:a16="http://schemas.microsoft.com/office/drawing/2014/main" id="{08AC2007-C553-4E93-ADB9-2D7161B40309}"/>
              </a:ext>
            </a:extLst>
          </p:cNvPr>
          <p:cNvPicPr>
            <a:picLocks noChangeAspect="1"/>
          </p:cNvPicPr>
          <p:nvPr/>
        </p:nvPicPr>
        <p:blipFill rotWithShape="1">
          <a:blip r:embed="rId6"/>
          <a:srcRect b="12766"/>
          <a:stretch/>
        </p:blipFill>
        <p:spPr>
          <a:xfrm>
            <a:off x="493279" y="4551051"/>
            <a:ext cx="2155697" cy="1813739"/>
          </a:xfrm>
          <a:prstGeom prst="rect">
            <a:avLst/>
          </a:prstGeom>
        </p:spPr>
      </p:pic>
      <p:pic>
        <p:nvPicPr>
          <p:cNvPr id="14" name="Immagine 13">
            <a:extLst>
              <a:ext uri="{FF2B5EF4-FFF2-40B4-BE49-F238E27FC236}">
                <a16:creationId xmlns:a16="http://schemas.microsoft.com/office/drawing/2014/main" id="{8689408F-9437-4975-9882-39CD1AF566CA}"/>
              </a:ext>
            </a:extLst>
          </p:cNvPr>
          <p:cNvPicPr>
            <a:picLocks noChangeAspect="1"/>
          </p:cNvPicPr>
          <p:nvPr/>
        </p:nvPicPr>
        <p:blipFill>
          <a:blip r:embed="rId7"/>
          <a:stretch>
            <a:fillRect/>
          </a:stretch>
        </p:blipFill>
        <p:spPr>
          <a:xfrm>
            <a:off x="4984409" y="4740630"/>
            <a:ext cx="2861263" cy="1645920"/>
          </a:xfrm>
          <a:prstGeom prst="rect">
            <a:avLst/>
          </a:prstGeom>
        </p:spPr>
      </p:pic>
      <p:cxnSp>
        <p:nvCxnSpPr>
          <p:cNvPr id="17" name="Connettore diritto 16">
            <a:extLst>
              <a:ext uri="{FF2B5EF4-FFF2-40B4-BE49-F238E27FC236}">
                <a16:creationId xmlns:a16="http://schemas.microsoft.com/office/drawing/2014/main" id="{48ACC29C-16E4-4E28-BB2C-85A67E7AFAFA}"/>
              </a:ext>
            </a:extLst>
          </p:cNvPr>
          <p:cNvCxnSpPr/>
          <p:nvPr/>
        </p:nvCxnSpPr>
        <p:spPr>
          <a:xfrm>
            <a:off x="8058150" y="5355858"/>
            <a:ext cx="266700" cy="0"/>
          </a:xfrm>
          <a:prstGeom prst="line">
            <a:avLst/>
          </a:prstGeom>
          <a:ln w="28575">
            <a:solidFill>
              <a:srgbClr val="251FD5"/>
            </a:solidFill>
          </a:ln>
        </p:spPr>
        <p:style>
          <a:lnRef idx="1">
            <a:schemeClr val="accent1"/>
          </a:lnRef>
          <a:fillRef idx="0">
            <a:schemeClr val="accent1"/>
          </a:fillRef>
          <a:effectRef idx="0">
            <a:schemeClr val="accent1"/>
          </a:effectRef>
          <a:fontRef idx="minor">
            <a:schemeClr val="tx1"/>
          </a:fontRef>
        </p:style>
      </p:cxnSp>
      <p:cxnSp>
        <p:nvCxnSpPr>
          <p:cNvPr id="23" name="Connettore diritto 22">
            <a:extLst>
              <a:ext uri="{FF2B5EF4-FFF2-40B4-BE49-F238E27FC236}">
                <a16:creationId xmlns:a16="http://schemas.microsoft.com/office/drawing/2014/main" id="{D6FDB42A-EF67-425D-93C5-75FB2663E2FF}"/>
              </a:ext>
            </a:extLst>
          </p:cNvPr>
          <p:cNvCxnSpPr/>
          <p:nvPr/>
        </p:nvCxnSpPr>
        <p:spPr>
          <a:xfrm>
            <a:off x="8058150" y="5680793"/>
            <a:ext cx="266700" cy="0"/>
          </a:xfrm>
          <a:prstGeom prst="line">
            <a:avLst/>
          </a:prstGeom>
          <a:ln w="76200">
            <a:solidFill>
              <a:srgbClr val="EC0001"/>
            </a:solidFill>
          </a:ln>
        </p:spPr>
        <p:style>
          <a:lnRef idx="1">
            <a:schemeClr val="accent1"/>
          </a:lnRef>
          <a:fillRef idx="0">
            <a:schemeClr val="accent1"/>
          </a:fillRef>
          <a:effectRef idx="0">
            <a:schemeClr val="accent1"/>
          </a:effectRef>
          <a:fontRef idx="minor">
            <a:schemeClr val="tx1"/>
          </a:fontRef>
        </p:style>
      </p:cxnSp>
      <p:cxnSp>
        <p:nvCxnSpPr>
          <p:cNvPr id="24" name="Connettore diritto 23">
            <a:extLst>
              <a:ext uri="{FF2B5EF4-FFF2-40B4-BE49-F238E27FC236}">
                <a16:creationId xmlns:a16="http://schemas.microsoft.com/office/drawing/2014/main" id="{5B1101DC-861F-43FB-8E0B-E92004C3388F}"/>
              </a:ext>
            </a:extLst>
          </p:cNvPr>
          <p:cNvCxnSpPr/>
          <p:nvPr/>
        </p:nvCxnSpPr>
        <p:spPr>
          <a:xfrm>
            <a:off x="8058150" y="6022608"/>
            <a:ext cx="266700" cy="0"/>
          </a:xfrm>
          <a:prstGeom prst="line">
            <a:avLst/>
          </a:prstGeom>
          <a:ln w="76200">
            <a:solidFill>
              <a:srgbClr val="59DE11"/>
            </a:solidFill>
          </a:ln>
        </p:spPr>
        <p:style>
          <a:lnRef idx="1">
            <a:schemeClr val="accent1"/>
          </a:lnRef>
          <a:fillRef idx="0">
            <a:schemeClr val="accent1"/>
          </a:fillRef>
          <a:effectRef idx="0">
            <a:schemeClr val="accent1"/>
          </a:effectRef>
          <a:fontRef idx="minor">
            <a:schemeClr val="tx1"/>
          </a:fontRef>
        </p:style>
      </p:cxnSp>
      <p:sp>
        <p:nvSpPr>
          <p:cNvPr id="25" name="CasellaDiTesto 24">
            <a:extLst>
              <a:ext uri="{FF2B5EF4-FFF2-40B4-BE49-F238E27FC236}">
                <a16:creationId xmlns:a16="http://schemas.microsoft.com/office/drawing/2014/main" id="{8037FD2E-D50D-41F8-8783-2060BE950482}"/>
              </a:ext>
            </a:extLst>
          </p:cNvPr>
          <p:cNvSpPr txBox="1"/>
          <p:nvPr/>
        </p:nvSpPr>
        <p:spPr>
          <a:xfrm>
            <a:off x="8396939" y="5241159"/>
            <a:ext cx="3159314" cy="246221"/>
          </a:xfrm>
          <a:prstGeom prst="rect">
            <a:avLst/>
          </a:prstGeom>
          <a:noFill/>
        </p:spPr>
        <p:txBody>
          <a:bodyPr wrap="square" rtlCol="0">
            <a:spAutoFit/>
          </a:bodyPr>
          <a:lstStyle/>
          <a:p>
            <a:r>
              <a:rPr lang="it-IT" sz="1000" dirty="0">
                <a:solidFill>
                  <a:srgbClr val="003300"/>
                </a:solidFill>
              </a:rPr>
              <a:t>Bacini imbriferi rio </a:t>
            </a:r>
            <a:r>
              <a:rPr lang="it-IT" sz="1000" dirty="0" err="1">
                <a:solidFill>
                  <a:srgbClr val="003300"/>
                </a:solidFill>
              </a:rPr>
              <a:t>Tangon</a:t>
            </a:r>
            <a:r>
              <a:rPr lang="it-IT" sz="1000" dirty="0">
                <a:solidFill>
                  <a:srgbClr val="003300"/>
                </a:solidFill>
              </a:rPr>
              <a:t> e rii minori</a:t>
            </a:r>
          </a:p>
        </p:txBody>
      </p:sp>
      <p:sp>
        <p:nvSpPr>
          <p:cNvPr id="26" name="CasellaDiTesto 25">
            <a:extLst>
              <a:ext uri="{FF2B5EF4-FFF2-40B4-BE49-F238E27FC236}">
                <a16:creationId xmlns:a16="http://schemas.microsoft.com/office/drawing/2014/main" id="{8454027B-0B3C-4A0F-823D-FC20524A1D33}"/>
              </a:ext>
            </a:extLst>
          </p:cNvPr>
          <p:cNvSpPr txBox="1"/>
          <p:nvPr/>
        </p:nvSpPr>
        <p:spPr>
          <a:xfrm>
            <a:off x="8396939" y="5566493"/>
            <a:ext cx="3159314" cy="246221"/>
          </a:xfrm>
          <a:prstGeom prst="rect">
            <a:avLst/>
          </a:prstGeom>
          <a:noFill/>
        </p:spPr>
        <p:txBody>
          <a:bodyPr wrap="square" rtlCol="0">
            <a:spAutoFit/>
          </a:bodyPr>
          <a:lstStyle/>
          <a:p>
            <a:r>
              <a:rPr lang="it-IT" sz="1000" dirty="0">
                <a:solidFill>
                  <a:srgbClr val="003300"/>
                </a:solidFill>
              </a:rPr>
              <a:t>Collegamento autostradale</a:t>
            </a:r>
          </a:p>
        </p:txBody>
      </p:sp>
      <p:sp>
        <p:nvSpPr>
          <p:cNvPr id="27" name="CasellaDiTesto 26">
            <a:extLst>
              <a:ext uri="{FF2B5EF4-FFF2-40B4-BE49-F238E27FC236}">
                <a16:creationId xmlns:a16="http://schemas.microsoft.com/office/drawing/2014/main" id="{AFEFE992-90D6-4727-BCAF-D71EBD3B4AAD}"/>
              </a:ext>
            </a:extLst>
          </p:cNvPr>
          <p:cNvSpPr txBox="1"/>
          <p:nvPr/>
        </p:nvSpPr>
        <p:spPr>
          <a:xfrm>
            <a:off x="8383712" y="5899497"/>
            <a:ext cx="3159314" cy="246221"/>
          </a:xfrm>
          <a:prstGeom prst="rect">
            <a:avLst/>
          </a:prstGeom>
          <a:noFill/>
        </p:spPr>
        <p:txBody>
          <a:bodyPr wrap="square" rtlCol="0">
            <a:spAutoFit/>
          </a:bodyPr>
          <a:lstStyle/>
          <a:p>
            <a:r>
              <a:rPr lang="it-IT" sz="1000" dirty="0">
                <a:solidFill>
                  <a:srgbClr val="003300"/>
                </a:solidFill>
              </a:rPr>
              <a:t>Deviazione Rio </a:t>
            </a:r>
            <a:r>
              <a:rPr lang="it-IT" sz="1000" dirty="0" err="1">
                <a:solidFill>
                  <a:srgbClr val="003300"/>
                </a:solidFill>
              </a:rPr>
              <a:t>Tangon</a:t>
            </a:r>
            <a:endParaRPr lang="it-IT" sz="1000" dirty="0">
              <a:solidFill>
                <a:srgbClr val="003300"/>
              </a:solidFill>
            </a:endParaRPr>
          </a:p>
        </p:txBody>
      </p:sp>
    </p:spTree>
    <p:extLst>
      <p:ext uri="{BB962C8B-B14F-4D97-AF65-F5344CB8AC3E}">
        <p14:creationId xmlns:p14="http://schemas.microsoft.com/office/powerpoint/2010/main" val="7362449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8">
            <a:extLst>
              <a:ext uri="{FF2B5EF4-FFF2-40B4-BE49-F238E27FC236}">
                <a16:creationId xmlns:a16="http://schemas.microsoft.com/office/drawing/2014/main" id="{159E0B95-1159-47B6-93D4-DD9555426108}"/>
              </a:ext>
            </a:extLst>
          </p:cNvPr>
          <p:cNvSpPr txBox="1">
            <a:spLocks/>
          </p:cNvSpPr>
          <p:nvPr/>
        </p:nvSpPr>
        <p:spPr>
          <a:xfrm>
            <a:off x="1022381" y="1093910"/>
            <a:ext cx="6429005" cy="424056"/>
          </a:xfrm>
          <a:prstGeom prst="rect">
            <a:avLst/>
          </a:prstGeom>
        </p:spPr>
        <p:txBody>
          <a:bodyPr vert="horz" lIns="91440" tIns="45720" rIns="91440" bIns="45720" rtlCol="0" anchor="b">
            <a:no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Opere principali</a:t>
            </a:r>
          </a:p>
        </p:txBody>
      </p:sp>
      <p:sp>
        <p:nvSpPr>
          <p:cNvPr id="6" name="Segnaposto contenuto 2">
            <a:extLst>
              <a:ext uri="{FF2B5EF4-FFF2-40B4-BE49-F238E27FC236}">
                <a16:creationId xmlns:a16="http://schemas.microsoft.com/office/drawing/2014/main" id="{1B522F23-A424-4F12-8F10-3D071758CE37}"/>
              </a:ext>
            </a:extLst>
          </p:cNvPr>
          <p:cNvSpPr txBox="1">
            <a:spLocks/>
          </p:cNvSpPr>
          <p:nvPr/>
        </p:nvSpPr>
        <p:spPr>
          <a:xfrm>
            <a:off x="452930" y="1662282"/>
            <a:ext cx="11162965" cy="123713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just">
              <a:lnSpc>
                <a:spcPct val="100000"/>
              </a:lnSpc>
              <a:spcBef>
                <a:spcPts val="0"/>
              </a:spcBef>
              <a:spcAft>
                <a:spcPts val="600"/>
              </a:spcAft>
              <a:buNone/>
              <a:tabLst>
                <a:tab pos="457200" algn="l"/>
              </a:tabLst>
            </a:pPr>
            <a:r>
              <a:rPr lang="it-IT" sz="1200" b="1" dirty="0">
                <a:solidFill>
                  <a:srgbClr val="000000"/>
                </a:solidFill>
                <a:effectLst/>
                <a:ea typeface="Arial" panose="020B0604020202020204" pitchFamily="34" charset="0"/>
                <a:cs typeface="Calibri" panose="020F0502020204030204" pitchFamily="34" charset="0"/>
              </a:rPr>
              <a:t>La variante di tracciato dell’autostrada A12 esistente </a:t>
            </a:r>
            <a:r>
              <a:rPr lang="it-IT" sz="1200" dirty="0">
                <a:solidFill>
                  <a:srgbClr val="000000"/>
                </a:solidFill>
                <a:effectLst/>
                <a:ea typeface="Arial" panose="020B0604020202020204" pitchFamily="34" charset="0"/>
                <a:cs typeface="Calibri" panose="020F0502020204030204" pitchFamily="34" charset="0"/>
              </a:rPr>
              <a:t>tra le progressive chilometriche 26+280 e 27+194</a:t>
            </a:r>
            <a:r>
              <a:rPr lang="it-IT" sz="1200" b="1" dirty="0">
                <a:solidFill>
                  <a:srgbClr val="000000"/>
                </a:solidFill>
                <a:effectLst/>
                <a:ea typeface="Arial" panose="020B0604020202020204" pitchFamily="34" charset="0"/>
                <a:cs typeface="Calibri" panose="020F0502020204030204" pitchFamily="34" charset="0"/>
              </a:rPr>
              <a:t>: Stato di fatto</a:t>
            </a:r>
          </a:p>
        </p:txBody>
      </p:sp>
      <p:sp>
        <p:nvSpPr>
          <p:cNvPr id="20" name="Titolo 6">
            <a:extLst>
              <a:ext uri="{FF2B5EF4-FFF2-40B4-BE49-F238E27FC236}">
                <a16:creationId xmlns:a16="http://schemas.microsoft.com/office/drawing/2014/main" id="{F4B312A5-AB17-4CA0-905E-D7BAFAB4FFD6}"/>
              </a:ext>
            </a:extLst>
          </p:cNvPr>
          <p:cNvSpPr>
            <a:spLocks noGrp="1"/>
          </p:cNvSpPr>
          <p:nvPr>
            <p:ph type="title"/>
          </p:nvPr>
        </p:nvSpPr>
        <p:spPr>
          <a:xfrm>
            <a:off x="258416" y="368701"/>
            <a:ext cx="10515600" cy="418646"/>
          </a:xfrm>
        </p:spPr>
        <p:txBody>
          <a:bodyPr>
            <a:normAutofit fontScale="90000"/>
          </a:bodyPr>
          <a:lstStyle/>
          <a:p>
            <a:r>
              <a:rPr lang="it-IT" sz="3200" b="1" dirty="0"/>
              <a:t>05. Descrizione dell’intervento</a:t>
            </a:r>
          </a:p>
        </p:txBody>
      </p:sp>
      <p:sp>
        <p:nvSpPr>
          <p:cNvPr id="21" name="Rettangolo 20">
            <a:extLst>
              <a:ext uri="{FF2B5EF4-FFF2-40B4-BE49-F238E27FC236}">
                <a16:creationId xmlns:a16="http://schemas.microsoft.com/office/drawing/2014/main" id="{DDEBEF42-FB5F-40AA-A6A7-5860EC8CB590}"/>
              </a:ext>
            </a:extLst>
          </p:cNvPr>
          <p:cNvSpPr/>
          <p:nvPr/>
        </p:nvSpPr>
        <p:spPr>
          <a:xfrm>
            <a:off x="258416" y="825526"/>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Ovale 17">
            <a:extLst>
              <a:ext uri="{FF2B5EF4-FFF2-40B4-BE49-F238E27FC236}">
                <a16:creationId xmlns:a16="http://schemas.microsoft.com/office/drawing/2014/main" id="{2C8F8A82-1196-4910-A343-5924609618FF}"/>
              </a:ext>
            </a:extLst>
          </p:cNvPr>
          <p:cNvSpPr/>
          <p:nvPr/>
        </p:nvSpPr>
        <p:spPr>
          <a:xfrm>
            <a:off x="452658" y="1023267"/>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19" name="Picture 6">
            <a:extLst>
              <a:ext uri="{FF2B5EF4-FFF2-40B4-BE49-F238E27FC236}">
                <a16:creationId xmlns:a16="http://schemas.microsoft.com/office/drawing/2014/main" id="{55F0DDAB-04B8-4A94-A13E-272D5C61F68B}"/>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493280" y="938321"/>
            <a:ext cx="463296" cy="463296"/>
          </a:xfrm>
          <a:prstGeom prst="rect">
            <a:avLst/>
          </a:prstGeom>
          <a:noFill/>
          <a:extLst>
            <a:ext uri="{909E8E84-426E-40DD-AFC4-6F175D3DCCD1}">
              <a14:hiddenFill xmlns:a14="http://schemas.microsoft.com/office/drawing/2010/main">
                <a:solidFill>
                  <a:srgbClr val="FFFFFF"/>
                </a:solidFill>
              </a14:hiddenFill>
            </a:ext>
          </a:extLst>
        </p:spPr>
      </p:pic>
      <p:pic>
        <p:nvPicPr>
          <p:cNvPr id="10" name="Immagine 9">
            <a:extLst>
              <a:ext uri="{FF2B5EF4-FFF2-40B4-BE49-F238E27FC236}">
                <a16:creationId xmlns:a16="http://schemas.microsoft.com/office/drawing/2014/main" id="{08EBA6F5-F0BB-4644-A081-F08CF5CDC04F}"/>
              </a:ext>
            </a:extLst>
          </p:cNvPr>
          <p:cNvPicPr>
            <a:picLocks noChangeAspect="1"/>
          </p:cNvPicPr>
          <p:nvPr/>
        </p:nvPicPr>
        <p:blipFill>
          <a:blip r:embed="rId4"/>
          <a:stretch>
            <a:fillRect/>
          </a:stretch>
        </p:blipFill>
        <p:spPr>
          <a:xfrm>
            <a:off x="532754" y="2010507"/>
            <a:ext cx="11258550" cy="4267200"/>
          </a:xfrm>
          <a:prstGeom prst="rect">
            <a:avLst/>
          </a:prstGeom>
        </p:spPr>
      </p:pic>
    </p:spTree>
    <p:extLst>
      <p:ext uri="{BB962C8B-B14F-4D97-AF65-F5344CB8AC3E}">
        <p14:creationId xmlns:p14="http://schemas.microsoft.com/office/powerpoint/2010/main" val="32534680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8">
            <a:extLst>
              <a:ext uri="{FF2B5EF4-FFF2-40B4-BE49-F238E27FC236}">
                <a16:creationId xmlns:a16="http://schemas.microsoft.com/office/drawing/2014/main" id="{159E0B95-1159-47B6-93D4-DD9555426108}"/>
              </a:ext>
            </a:extLst>
          </p:cNvPr>
          <p:cNvSpPr txBox="1">
            <a:spLocks/>
          </p:cNvSpPr>
          <p:nvPr/>
        </p:nvSpPr>
        <p:spPr>
          <a:xfrm>
            <a:off x="1022381" y="1093910"/>
            <a:ext cx="6429005" cy="424056"/>
          </a:xfrm>
          <a:prstGeom prst="rect">
            <a:avLst/>
          </a:prstGeom>
        </p:spPr>
        <p:txBody>
          <a:bodyPr vert="horz" lIns="91440" tIns="45720" rIns="91440" bIns="45720" rtlCol="0" anchor="b">
            <a:no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Opere principali</a:t>
            </a:r>
          </a:p>
        </p:txBody>
      </p:sp>
      <p:sp>
        <p:nvSpPr>
          <p:cNvPr id="6" name="Segnaposto contenuto 2">
            <a:extLst>
              <a:ext uri="{FF2B5EF4-FFF2-40B4-BE49-F238E27FC236}">
                <a16:creationId xmlns:a16="http://schemas.microsoft.com/office/drawing/2014/main" id="{1B522F23-A424-4F12-8F10-3D071758CE37}"/>
              </a:ext>
            </a:extLst>
          </p:cNvPr>
          <p:cNvSpPr txBox="1">
            <a:spLocks/>
          </p:cNvSpPr>
          <p:nvPr/>
        </p:nvSpPr>
        <p:spPr>
          <a:xfrm>
            <a:off x="452930" y="1662282"/>
            <a:ext cx="11162965" cy="123713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just">
              <a:lnSpc>
                <a:spcPct val="100000"/>
              </a:lnSpc>
              <a:spcBef>
                <a:spcPts val="0"/>
              </a:spcBef>
              <a:spcAft>
                <a:spcPts val="600"/>
              </a:spcAft>
              <a:buNone/>
              <a:tabLst>
                <a:tab pos="457200" algn="l"/>
              </a:tabLst>
            </a:pPr>
            <a:r>
              <a:rPr lang="it-IT" sz="1200" b="1" dirty="0">
                <a:solidFill>
                  <a:srgbClr val="000000"/>
                </a:solidFill>
                <a:effectLst/>
                <a:ea typeface="Arial" panose="020B0604020202020204" pitchFamily="34" charset="0"/>
                <a:cs typeface="Calibri" panose="020F0502020204030204" pitchFamily="34" charset="0"/>
              </a:rPr>
              <a:t>La variante di tracciato dell’autostrada A12 esistente </a:t>
            </a:r>
            <a:r>
              <a:rPr lang="it-IT" sz="1200" dirty="0">
                <a:solidFill>
                  <a:srgbClr val="000000"/>
                </a:solidFill>
                <a:effectLst/>
                <a:ea typeface="Arial" panose="020B0604020202020204" pitchFamily="34" charset="0"/>
                <a:cs typeface="Calibri" panose="020F0502020204030204" pitchFamily="34" charset="0"/>
              </a:rPr>
              <a:t>tra le progressive chilometriche 26+280 e 27+194</a:t>
            </a:r>
            <a:r>
              <a:rPr lang="it-IT" sz="1200" b="1" dirty="0">
                <a:solidFill>
                  <a:srgbClr val="000000"/>
                </a:solidFill>
                <a:effectLst/>
                <a:ea typeface="Arial" panose="020B0604020202020204" pitchFamily="34" charset="0"/>
                <a:cs typeface="Calibri" panose="020F0502020204030204" pitchFamily="34" charset="0"/>
              </a:rPr>
              <a:t>: </a:t>
            </a:r>
            <a:r>
              <a:rPr lang="it-IT" sz="1200" b="1" dirty="0">
                <a:solidFill>
                  <a:srgbClr val="000000"/>
                </a:solidFill>
                <a:ea typeface="Arial" panose="020B0604020202020204" pitchFamily="34" charset="0"/>
                <a:cs typeface="Calibri" panose="020F0502020204030204" pitchFamily="34" charset="0"/>
              </a:rPr>
              <a:t>Fase di Cantiere</a:t>
            </a:r>
            <a:endParaRPr lang="it-IT" sz="1200" b="1" dirty="0">
              <a:solidFill>
                <a:srgbClr val="000000"/>
              </a:solidFill>
              <a:effectLst/>
              <a:ea typeface="Arial" panose="020B0604020202020204" pitchFamily="34" charset="0"/>
              <a:cs typeface="Calibri" panose="020F0502020204030204" pitchFamily="34" charset="0"/>
            </a:endParaRPr>
          </a:p>
        </p:txBody>
      </p:sp>
      <p:sp>
        <p:nvSpPr>
          <p:cNvPr id="20" name="Titolo 6">
            <a:extLst>
              <a:ext uri="{FF2B5EF4-FFF2-40B4-BE49-F238E27FC236}">
                <a16:creationId xmlns:a16="http://schemas.microsoft.com/office/drawing/2014/main" id="{F4B312A5-AB17-4CA0-905E-D7BAFAB4FFD6}"/>
              </a:ext>
            </a:extLst>
          </p:cNvPr>
          <p:cNvSpPr>
            <a:spLocks noGrp="1"/>
          </p:cNvSpPr>
          <p:nvPr>
            <p:ph type="title"/>
          </p:nvPr>
        </p:nvSpPr>
        <p:spPr>
          <a:xfrm>
            <a:off x="258416" y="368701"/>
            <a:ext cx="10515600" cy="418646"/>
          </a:xfrm>
        </p:spPr>
        <p:txBody>
          <a:bodyPr>
            <a:normAutofit fontScale="90000"/>
          </a:bodyPr>
          <a:lstStyle/>
          <a:p>
            <a:r>
              <a:rPr lang="it-IT" sz="3200" b="1" dirty="0"/>
              <a:t>05. Descrizione dell’intervento</a:t>
            </a:r>
          </a:p>
        </p:txBody>
      </p:sp>
      <p:sp>
        <p:nvSpPr>
          <p:cNvPr id="21" name="Rettangolo 20">
            <a:extLst>
              <a:ext uri="{FF2B5EF4-FFF2-40B4-BE49-F238E27FC236}">
                <a16:creationId xmlns:a16="http://schemas.microsoft.com/office/drawing/2014/main" id="{DDEBEF42-FB5F-40AA-A6A7-5860EC8CB590}"/>
              </a:ext>
            </a:extLst>
          </p:cNvPr>
          <p:cNvSpPr/>
          <p:nvPr/>
        </p:nvSpPr>
        <p:spPr>
          <a:xfrm>
            <a:off x="258416" y="825526"/>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Ovale 17">
            <a:extLst>
              <a:ext uri="{FF2B5EF4-FFF2-40B4-BE49-F238E27FC236}">
                <a16:creationId xmlns:a16="http://schemas.microsoft.com/office/drawing/2014/main" id="{2C8F8A82-1196-4910-A343-5924609618FF}"/>
              </a:ext>
            </a:extLst>
          </p:cNvPr>
          <p:cNvSpPr/>
          <p:nvPr/>
        </p:nvSpPr>
        <p:spPr>
          <a:xfrm>
            <a:off x="452658" y="1023267"/>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19" name="Picture 6">
            <a:extLst>
              <a:ext uri="{FF2B5EF4-FFF2-40B4-BE49-F238E27FC236}">
                <a16:creationId xmlns:a16="http://schemas.microsoft.com/office/drawing/2014/main" id="{55F0DDAB-04B8-4A94-A13E-272D5C61F68B}"/>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493280" y="938321"/>
            <a:ext cx="463296" cy="463296"/>
          </a:xfrm>
          <a:prstGeom prst="rect">
            <a:avLst/>
          </a:prstGeom>
          <a:noFill/>
          <a:extLst>
            <a:ext uri="{909E8E84-426E-40DD-AFC4-6F175D3DCCD1}">
              <a14:hiddenFill xmlns:a14="http://schemas.microsoft.com/office/drawing/2010/main">
                <a:solidFill>
                  <a:srgbClr val="FFFFFF"/>
                </a:solidFill>
              </a14:hiddenFill>
            </a:ext>
          </a:extLst>
        </p:spPr>
      </p:pic>
      <p:pic>
        <p:nvPicPr>
          <p:cNvPr id="7" name="Immagine 6">
            <a:extLst>
              <a:ext uri="{FF2B5EF4-FFF2-40B4-BE49-F238E27FC236}">
                <a16:creationId xmlns:a16="http://schemas.microsoft.com/office/drawing/2014/main" id="{407A1A62-8072-4B0F-A34C-E49FC1C60EED}"/>
              </a:ext>
            </a:extLst>
          </p:cNvPr>
          <p:cNvPicPr>
            <a:picLocks noChangeAspect="1"/>
          </p:cNvPicPr>
          <p:nvPr/>
        </p:nvPicPr>
        <p:blipFill rotWithShape="1">
          <a:blip r:embed="rId4"/>
          <a:srcRect t="4971" b="11203"/>
          <a:stretch/>
        </p:blipFill>
        <p:spPr>
          <a:xfrm>
            <a:off x="576105" y="2015274"/>
            <a:ext cx="11162966" cy="4221404"/>
          </a:xfrm>
          <a:prstGeom prst="rect">
            <a:avLst/>
          </a:prstGeom>
        </p:spPr>
      </p:pic>
    </p:spTree>
    <p:extLst>
      <p:ext uri="{BB962C8B-B14F-4D97-AF65-F5344CB8AC3E}">
        <p14:creationId xmlns:p14="http://schemas.microsoft.com/office/powerpoint/2010/main" val="33558664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e 11">
            <a:extLst>
              <a:ext uri="{FF2B5EF4-FFF2-40B4-BE49-F238E27FC236}">
                <a16:creationId xmlns:a16="http://schemas.microsoft.com/office/drawing/2014/main" id="{3EF1788F-1140-486E-AE19-0F54157B2B95}"/>
              </a:ext>
            </a:extLst>
          </p:cNvPr>
          <p:cNvSpPr/>
          <p:nvPr/>
        </p:nvSpPr>
        <p:spPr>
          <a:xfrm>
            <a:off x="452658" y="1023267"/>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5" name="Segnaposto testo 8">
            <a:extLst>
              <a:ext uri="{FF2B5EF4-FFF2-40B4-BE49-F238E27FC236}">
                <a16:creationId xmlns:a16="http://schemas.microsoft.com/office/drawing/2014/main" id="{159E0B95-1159-47B6-93D4-DD9555426108}"/>
              </a:ext>
            </a:extLst>
          </p:cNvPr>
          <p:cNvSpPr txBox="1">
            <a:spLocks/>
          </p:cNvSpPr>
          <p:nvPr/>
        </p:nvSpPr>
        <p:spPr>
          <a:xfrm>
            <a:off x="1022382" y="1093910"/>
            <a:ext cx="5073618" cy="424056"/>
          </a:xfrm>
          <a:prstGeom prst="rect">
            <a:avLst/>
          </a:prstGeom>
        </p:spPr>
        <p:txBody>
          <a:bodyPr vert="horz" lIns="91440" tIns="45720" rIns="91440" bIns="45720" rtlCol="0" anchor="b">
            <a:no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Opere principali</a:t>
            </a:r>
          </a:p>
        </p:txBody>
      </p:sp>
      <p:sp>
        <p:nvSpPr>
          <p:cNvPr id="6" name="Segnaposto contenuto 2">
            <a:extLst>
              <a:ext uri="{FF2B5EF4-FFF2-40B4-BE49-F238E27FC236}">
                <a16:creationId xmlns:a16="http://schemas.microsoft.com/office/drawing/2014/main" id="{1B522F23-A424-4F12-8F10-3D071758CE37}"/>
              </a:ext>
            </a:extLst>
          </p:cNvPr>
          <p:cNvSpPr txBox="1">
            <a:spLocks/>
          </p:cNvSpPr>
          <p:nvPr/>
        </p:nvSpPr>
        <p:spPr>
          <a:xfrm>
            <a:off x="452931" y="1579381"/>
            <a:ext cx="4297211" cy="184961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just">
              <a:lnSpc>
                <a:spcPct val="150000"/>
              </a:lnSpc>
              <a:spcBef>
                <a:spcPts val="600"/>
              </a:spcBef>
              <a:spcAft>
                <a:spcPts val="800"/>
              </a:spcAft>
              <a:buFont typeface="+mj-lt"/>
              <a:buAutoNum type="arabicPeriod" startAt="2"/>
              <a:tabLst>
                <a:tab pos="457200" algn="l"/>
              </a:tabLst>
            </a:pPr>
            <a:r>
              <a:rPr lang="it-IT" sz="1200" b="1" dirty="0">
                <a:solidFill>
                  <a:srgbClr val="000000"/>
                </a:solidFill>
                <a:effectLst/>
                <a:ea typeface="Arial" panose="020B0604020202020204" pitchFamily="34" charset="0"/>
                <a:cs typeface="Calibri" panose="020F0502020204030204" pitchFamily="34" charset="0"/>
              </a:rPr>
              <a:t>Il nuovo svincolo </a:t>
            </a:r>
            <a:r>
              <a:rPr lang="it-IT" sz="1200" dirty="0">
                <a:solidFill>
                  <a:srgbClr val="000000"/>
                </a:solidFill>
                <a:effectLst/>
                <a:ea typeface="Arial" panose="020B0604020202020204" pitchFamily="34" charset="0"/>
                <a:cs typeface="Calibri" panose="020F0502020204030204" pitchFamily="34" charset="0"/>
              </a:rPr>
              <a:t>prevede 4 rampe di immissione/uscita in entrambe le direzioni (Genova e Livorno). La sezione tipo delle rampe dello svincolo è composta da una corsia di larghezza pari a 4.00 m e banchine di larghezza pari a 1.00 m. </a:t>
            </a:r>
            <a:endParaRPr lang="it-IT" sz="1200" dirty="0">
              <a:solidFill>
                <a:srgbClr val="000000"/>
              </a:solidFill>
              <a:effectLst/>
              <a:ea typeface="Calibri" panose="020F0502020204030204" pitchFamily="34" charset="0"/>
              <a:cs typeface="Times New Roman" panose="02020603050405020304" pitchFamily="18" charset="0"/>
            </a:endParaRPr>
          </a:p>
        </p:txBody>
      </p:sp>
      <p:sp>
        <p:nvSpPr>
          <p:cNvPr id="20" name="Titolo 6">
            <a:extLst>
              <a:ext uri="{FF2B5EF4-FFF2-40B4-BE49-F238E27FC236}">
                <a16:creationId xmlns:a16="http://schemas.microsoft.com/office/drawing/2014/main" id="{F4B312A5-AB17-4CA0-905E-D7BAFAB4FFD6}"/>
              </a:ext>
            </a:extLst>
          </p:cNvPr>
          <p:cNvSpPr>
            <a:spLocks noGrp="1"/>
          </p:cNvSpPr>
          <p:nvPr>
            <p:ph type="title"/>
          </p:nvPr>
        </p:nvSpPr>
        <p:spPr>
          <a:xfrm>
            <a:off x="258416" y="368701"/>
            <a:ext cx="10515600" cy="418646"/>
          </a:xfrm>
        </p:spPr>
        <p:txBody>
          <a:bodyPr>
            <a:normAutofit fontScale="90000"/>
          </a:bodyPr>
          <a:lstStyle/>
          <a:p>
            <a:r>
              <a:rPr lang="it-IT" sz="3200" b="1" dirty="0"/>
              <a:t>05. Descrizione dell’intervento</a:t>
            </a:r>
          </a:p>
        </p:txBody>
      </p:sp>
      <p:sp>
        <p:nvSpPr>
          <p:cNvPr id="21" name="Rettangolo 20">
            <a:extLst>
              <a:ext uri="{FF2B5EF4-FFF2-40B4-BE49-F238E27FC236}">
                <a16:creationId xmlns:a16="http://schemas.microsoft.com/office/drawing/2014/main" id="{DDEBEF42-FB5F-40AA-A6A7-5860EC8CB590}"/>
              </a:ext>
            </a:extLst>
          </p:cNvPr>
          <p:cNvSpPr/>
          <p:nvPr/>
        </p:nvSpPr>
        <p:spPr>
          <a:xfrm>
            <a:off x="258416" y="825526"/>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3" name="Picture 6">
            <a:extLst>
              <a:ext uri="{FF2B5EF4-FFF2-40B4-BE49-F238E27FC236}">
                <a16:creationId xmlns:a16="http://schemas.microsoft.com/office/drawing/2014/main" id="{FBCFD182-49A9-45A6-B558-5B0E7D3173B0}"/>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493280" y="938321"/>
            <a:ext cx="463296" cy="463296"/>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uppo 2">
            <a:extLst>
              <a:ext uri="{FF2B5EF4-FFF2-40B4-BE49-F238E27FC236}">
                <a16:creationId xmlns:a16="http://schemas.microsoft.com/office/drawing/2014/main" id="{C7852909-A444-4DC1-B8E8-AA970E9C63F6}"/>
              </a:ext>
            </a:extLst>
          </p:cNvPr>
          <p:cNvGrpSpPr/>
          <p:nvPr/>
        </p:nvGrpSpPr>
        <p:grpSpPr>
          <a:xfrm>
            <a:off x="537653" y="3071446"/>
            <a:ext cx="4212489" cy="3138661"/>
            <a:chOff x="375156" y="3220911"/>
            <a:chExt cx="4203096" cy="3047812"/>
          </a:xfrm>
        </p:grpSpPr>
        <p:pic>
          <p:nvPicPr>
            <p:cNvPr id="15" name="Immagine 14">
              <a:extLst>
                <a:ext uri="{FF2B5EF4-FFF2-40B4-BE49-F238E27FC236}">
                  <a16:creationId xmlns:a16="http://schemas.microsoft.com/office/drawing/2014/main" id="{C5C0245B-BC14-4B92-8AB7-B79EE3FD793D}"/>
                </a:ext>
              </a:extLst>
            </p:cNvPr>
            <p:cNvPicPr>
              <a:picLocks noChangeAspect="1"/>
            </p:cNvPicPr>
            <p:nvPr/>
          </p:nvPicPr>
          <p:blipFill rotWithShape="1">
            <a:blip r:embed="rId4" cstate="print"/>
            <a:srcRect l="19864" t="12733" r="18351" b="23679"/>
            <a:stretch/>
          </p:blipFill>
          <p:spPr bwMode="auto">
            <a:xfrm>
              <a:off x="375156" y="3220911"/>
              <a:ext cx="4203096" cy="3047812"/>
            </a:xfrm>
            <a:prstGeom prst="rect">
              <a:avLst/>
            </a:prstGeom>
            <a:noFill/>
            <a:ln w="9525">
              <a:noFill/>
              <a:miter lim="800000"/>
              <a:headEnd/>
              <a:tailEnd/>
            </a:ln>
          </p:spPr>
        </p:pic>
        <p:sp>
          <p:nvSpPr>
            <p:cNvPr id="2" name="Rettangolo 1">
              <a:extLst>
                <a:ext uri="{FF2B5EF4-FFF2-40B4-BE49-F238E27FC236}">
                  <a16:creationId xmlns:a16="http://schemas.microsoft.com/office/drawing/2014/main" id="{0C3A7CA1-A540-428A-A2E4-C86D2A7072BE}"/>
                </a:ext>
              </a:extLst>
            </p:cNvPr>
            <p:cNvSpPr/>
            <p:nvPr/>
          </p:nvSpPr>
          <p:spPr>
            <a:xfrm>
              <a:off x="4337538" y="5240215"/>
              <a:ext cx="240714" cy="5238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pic>
        <p:nvPicPr>
          <p:cNvPr id="17" name="Immagine 16">
            <a:extLst>
              <a:ext uri="{FF2B5EF4-FFF2-40B4-BE49-F238E27FC236}">
                <a16:creationId xmlns:a16="http://schemas.microsoft.com/office/drawing/2014/main" id="{4DA828C5-6366-4975-ACC6-EAF7395D6996}"/>
              </a:ext>
            </a:extLst>
          </p:cNvPr>
          <p:cNvPicPr>
            <a:picLocks noChangeAspect="1"/>
          </p:cNvPicPr>
          <p:nvPr/>
        </p:nvPicPr>
        <p:blipFill rotWithShape="1">
          <a:blip r:embed="rId5"/>
          <a:srcRect b="1449"/>
          <a:stretch/>
        </p:blipFill>
        <p:spPr>
          <a:xfrm>
            <a:off x="4834864" y="1761619"/>
            <a:ext cx="6967823" cy="4448488"/>
          </a:xfrm>
          <a:prstGeom prst="rect">
            <a:avLst/>
          </a:prstGeom>
          <a:ln>
            <a:solidFill>
              <a:schemeClr val="accent6">
                <a:lumMod val="10000"/>
              </a:schemeClr>
            </a:solidFill>
          </a:ln>
        </p:spPr>
      </p:pic>
    </p:spTree>
    <p:extLst>
      <p:ext uri="{BB962C8B-B14F-4D97-AF65-F5344CB8AC3E}">
        <p14:creationId xmlns:p14="http://schemas.microsoft.com/office/powerpoint/2010/main" val="30525145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8">
            <a:extLst>
              <a:ext uri="{FF2B5EF4-FFF2-40B4-BE49-F238E27FC236}">
                <a16:creationId xmlns:a16="http://schemas.microsoft.com/office/drawing/2014/main" id="{159E0B95-1159-47B6-93D4-DD9555426108}"/>
              </a:ext>
            </a:extLst>
          </p:cNvPr>
          <p:cNvSpPr txBox="1">
            <a:spLocks/>
          </p:cNvSpPr>
          <p:nvPr/>
        </p:nvSpPr>
        <p:spPr>
          <a:xfrm>
            <a:off x="1022381" y="1093910"/>
            <a:ext cx="6429005" cy="424056"/>
          </a:xfrm>
          <a:prstGeom prst="rect">
            <a:avLst/>
          </a:prstGeom>
        </p:spPr>
        <p:txBody>
          <a:bodyPr vert="horz" lIns="91440" tIns="45720" rIns="91440" bIns="45720" rtlCol="0" anchor="b">
            <a:no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Opere principali</a:t>
            </a:r>
          </a:p>
        </p:txBody>
      </p:sp>
      <p:sp>
        <p:nvSpPr>
          <p:cNvPr id="6" name="Segnaposto contenuto 2">
            <a:extLst>
              <a:ext uri="{FF2B5EF4-FFF2-40B4-BE49-F238E27FC236}">
                <a16:creationId xmlns:a16="http://schemas.microsoft.com/office/drawing/2014/main" id="{1B522F23-A424-4F12-8F10-3D071758CE37}"/>
              </a:ext>
            </a:extLst>
          </p:cNvPr>
          <p:cNvSpPr txBox="1">
            <a:spLocks/>
          </p:cNvSpPr>
          <p:nvPr/>
        </p:nvSpPr>
        <p:spPr>
          <a:xfrm>
            <a:off x="452930" y="1662282"/>
            <a:ext cx="11162965" cy="123713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just">
              <a:lnSpc>
                <a:spcPct val="100000"/>
              </a:lnSpc>
              <a:spcBef>
                <a:spcPts val="600"/>
              </a:spcBef>
              <a:spcAft>
                <a:spcPts val="800"/>
              </a:spcAft>
              <a:buNone/>
              <a:tabLst>
                <a:tab pos="457200" algn="l"/>
              </a:tabLst>
            </a:pPr>
            <a:r>
              <a:rPr lang="it-IT" sz="1200" b="1" dirty="0">
                <a:solidFill>
                  <a:srgbClr val="000000"/>
                </a:solidFill>
                <a:effectLst/>
                <a:ea typeface="Arial" panose="020B0604020202020204" pitchFamily="34" charset="0"/>
                <a:cs typeface="Calibri" panose="020F0502020204030204" pitchFamily="34" charset="0"/>
              </a:rPr>
              <a:t>Il nuovo svincolo </a:t>
            </a:r>
            <a:r>
              <a:rPr lang="it-IT" sz="1200" dirty="0">
                <a:solidFill>
                  <a:srgbClr val="000000"/>
                </a:solidFill>
                <a:effectLst/>
                <a:ea typeface="Arial" panose="020B0604020202020204" pitchFamily="34" charset="0"/>
                <a:cs typeface="Calibri" panose="020F0502020204030204" pitchFamily="34" charset="0"/>
              </a:rPr>
              <a:t>con 4 rampe di immissione/uscita in entrambe le direzioni (Genova e Livorno) </a:t>
            </a:r>
            <a:r>
              <a:rPr lang="it-IT" sz="1200" b="1" dirty="0">
                <a:solidFill>
                  <a:srgbClr val="000000"/>
                </a:solidFill>
                <a:effectLst/>
                <a:ea typeface="Arial" panose="020B0604020202020204" pitchFamily="34" charset="0"/>
                <a:cs typeface="Calibri" panose="020F0502020204030204" pitchFamily="34" charset="0"/>
              </a:rPr>
              <a:t>e imbocco G. Caravaggio lato Rapallo</a:t>
            </a:r>
            <a:r>
              <a:rPr lang="it-IT" sz="1200" dirty="0">
                <a:solidFill>
                  <a:srgbClr val="000000"/>
                </a:solidFill>
                <a:ea typeface="Arial" panose="020B0604020202020204" pitchFamily="34" charset="0"/>
                <a:cs typeface="Calibri" panose="020F0502020204030204" pitchFamily="34" charset="0"/>
              </a:rPr>
              <a:t> </a:t>
            </a:r>
            <a:endParaRPr lang="it-IT" sz="1200" dirty="0">
              <a:solidFill>
                <a:srgbClr val="000000"/>
              </a:solidFill>
              <a:effectLst/>
              <a:ea typeface="Calibri" panose="020F0502020204030204" pitchFamily="34" charset="0"/>
              <a:cs typeface="Times New Roman" panose="02020603050405020304" pitchFamily="18" charset="0"/>
            </a:endParaRPr>
          </a:p>
        </p:txBody>
      </p:sp>
      <p:sp>
        <p:nvSpPr>
          <p:cNvPr id="20" name="Titolo 6">
            <a:extLst>
              <a:ext uri="{FF2B5EF4-FFF2-40B4-BE49-F238E27FC236}">
                <a16:creationId xmlns:a16="http://schemas.microsoft.com/office/drawing/2014/main" id="{F4B312A5-AB17-4CA0-905E-D7BAFAB4FFD6}"/>
              </a:ext>
            </a:extLst>
          </p:cNvPr>
          <p:cNvSpPr>
            <a:spLocks noGrp="1"/>
          </p:cNvSpPr>
          <p:nvPr>
            <p:ph type="title"/>
          </p:nvPr>
        </p:nvSpPr>
        <p:spPr>
          <a:xfrm>
            <a:off x="258416" y="368701"/>
            <a:ext cx="10515600" cy="418646"/>
          </a:xfrm>
        </p:spPr>
        <p:txBody>
          <a:bodyPr>
            <a:normAutofit fontScale="90000"/>
          </a:bodyPr>
          <a:lstStyle/>
          <a:p>
            <a:r>
              <a:rPr lang="it-IT" sz="3200" b="1" dirty="0"/>
              <a:t>05. Descrizione dell’intervento</a:t>
            </a:r>
          </a:p>
        </p:txBody>
      </p:sp>
      <p:sp>
        <p:nvSpPr>
          <p:cNvPr id="21" name="Rettangolo 20">
            <a:extLst>
              <a:ext uri="{FF2B5EF4-FFF2-40B4-BE49-F238E27FC236}">
                <a16:creationId xmlns:a16="http://schemas.microsoft.com/office/drawing/2014/main" id="{DDEBEF42-FB5F-40AA-A6A7-5860EC8CB590}"/>
              </a:ext>
            </a:extLst>
          </p:cNvPr>
          <p:cNvSpPr/>
          <p:nvPr/>
        </p:nvSpPr>
        <p:spPr>
          <a:xfrm>
            <a:off x="262028" y="787347"/>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Ovale 17">
            <a:extLst>
              <a:ext uri="{FF2B5EF4-FFF2-40B4-BE49-F238E27FC236}">
                <a16:creationId xmlns:a16="http://schemas.microsoft.com/office/drawing/2014/main" id="{2C8F8A82-1196-4910-A343-5924609618FF}"/>
              </a:ext>
            </a:extLst>
          </p:cNvPr>
          <p:cNvSpPr/>
          <p:nvPr/>
        </p:nvSpPr>
        <p:spPr>
          <a:xfrm>
            <a:off x="452658" y="1023267"/>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19" name="Picture 6">
            <a:extLst>
              <a:ext uri="{FF2B5EF4-FFF2-40B4-BE49-F238E27FC236}">
                <a16:creationId xmlns:a16="http://schemas.microsoft.com/office/drawing/2014/main" id="{55F0DDAB-04B8-4A94-A13E-272D5C61F68B}"/>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493280" y="938321"/>
            <a:ext cx="463296" cy="463296"/>
          </a:xfrm>
          <a:prstGeom prst="rect">
            <a:avLst/>
          </a:prstGeom>
          <a:noFill/>
          <a:extLst>
            <a:ext uri="{909E8E84-426E-40DD-AFC4-6F175D3DCCD1}">
              <a14:hiddenFill xmlns:a14="http://schemas.microsoft.com/office/drawing/2010/main">
                <a:solidFill>
                  <a:srgbClr val="FFFFFF"/>
                </a:solidFill>
              </a14:hiddenFill>
            </a:ext>
          </a:extLst>
        </p:spPr>
      </p:pic>
      <p:pic>
        <p:nvPicPr>
          <p:cNvPr id="22" name="Immagine 21">
            <a:extLst>
              <a:ext uri="{FF2B5EF4-FFF2-40B4-BE49-F238E27FC236}">
                <a16:creationId xmlns:a16="http://schemas.microsoft.com/office/drawing/2014/main" id="{DB158608-65DE-48BE-8F8C-61DABE89E6D6}"/>
              </a:ext>
            </a:extLst>
          </p:cNvPr>
          <p:cNvPicPr>
            <a:picLocks noChangeAspect="1"/>
          </p:cNvPicPr>
          <p:nvPr/>
        </p:nvPicPr>
        <p:blipFill rotWithShape="1">
          <a:blip r:embed="rId4"/>
          <a:srcRect l="1617" t="10900" r="189" b="22369"/>
          <a:stretch/>
        </p:blipFill>
        <p:spPr>
          <a:xfrm>
            <a:off x="493281" y="2028092"/>
            <a:ext cx="11245790" cy="4196862"/>
          </a:xfrm>
          <a:prstGeom prst="rect">
            <a:avLst/>
          </a:prstGeom>
          <a:ln>
            <a:solidFill>
              <a:srgbClr val="FFFFFF"/>
            </a:solidFill>
          </a:ln>
        </p:spPr>
      </p:pic>
      <p:graphicFrame>
        <p:nvGraphicFramePr>
          <p:cNvPr id="9" name="Tabella 30">
            <a:extLst>
              <a:ext uri="{FF2B5EF4-FFF2-40B4-BE49-F238E27FC236}">
                <a16:creationId xmlns:a16="http://schemas.microsoft.com/office/drawing/2014/main" id="{0FFA9C75-C976-4BF5-890B-86338B593B4B}"/>
              </a:ext>
            </a:extLst>
          </p:cNvPr>
          <p:cNvGraphicFramePr>
            <a:graphicFrameLocks noGrp="1"/>
          </p:cNvGraphicFramePr>
          <p:nvPr>
            <p:extLst>
              <p:ext uri="{D42A27DB-BD31-4B8C-83A1-F6EECF244321}">
                <p14:modId xmlns:p14="http://schemas.microsoft.com/office/powerpoint/2010/main" val="1184047987"/>
              </p:ext>
            </p:extLst>
          </p:nvPr>
        </p:nvGraphicFramePr>
        <p:xfrm>
          <a:off x="5692110" y="2030451"/>
          <a:ext cx="6046645" cy="1920240"/>
        </p:xfrm>
        <a:graphic>
          <a:graphicData uri="http://schemas.openxmlformats.org/drawingml/2006/table">
            <a:tbl>
              <a:tblPr firstRow="1" bandRow="1">
                <a:tableStyleId>{5C22544A-7EE6-4342-B048-85BDC9FD1C3A}</a:tableStyleId>
              </a:tblPr>
              <a:tblGrid>
                <a:gridCol w="1044025">
                  <a:extLst>
                    <a:ext uri="{9D8B030D-6E8A-4147-A177-3AD203B41FA5}">
                      <a16:colId xmlns:a16="http://schemas.microsoft.com/office/drawing/2014/main" val="2017343340"/>
                    </a:ext>
                  </a:extLst>
                </a:gridCol>
                <a:gridCol w="572983">
                  <a:extLst>
                    <a:ext uri="{9D8B030D-6E8A-4147-A177-3AD203B41FA5}">
                      <a16:colId xmlns:a16="http://schemas.microsoft.com/office/drawing/2014/main" val="2737948790"/>
                    </a:ext>
                  </a:extLst>
                </a:gridCol>
                <a:gridCol w="536602">
                  <a:extLst>
                    <a:ext uri="{9D8B030D-6E8A-4147-A177-3AD203B41FA5}">
                      <a16:colId xmlns:a16="http://schemas.microsoft.com/office/drawing/2014/main" val="3141656661"/>
                    </a:ext>
                  </a:extLst>
                </a:gridCol>
                <a:gridCol w="815673">
                  <a:extLst>
                    <a:ext uri="{9D8B030D-6E8A-4147-A177-3AD203B41FA5}">
                      <a16:colId xmlns:a16="http://schemas.microsoft.com/office/drawing/2014/main" val="2061547035"/>
                    </a:ext>
                  </a:extLst>
                </a:gridCol>
                <a:gridCol w="1543837">
                  <a:extLst>
                    <a:ext uri="{9D8B030D-6E8A-4147-A177-3AD203B41FA5}">
                      <a16:colId xmlns:a16="http://schemas.microsoft.com/office/drawing/2014/main" val="1559674667"/>
                    </a:ext>
                  </a:extLst>
                </a:gridCol>
                <a:gridCol w="1533525">
                  <a:extLst>
                    <a:ext uri="{9D8B030D-6E8A-4147-A177-3AD203B41FA5}">
                      <a16:colId xmlns:a16="http://schemas.microsoft.com/office/drawing/2014/main" val="3019012151"/>
                    </a:ext>
                  </a:extLst>
                </a:gridCol>
              </a:tblGrid>
              <a:tr h="211952">
                <a:tc>
                  <a:txBody>
                    <a:bodyPr/>
                    <a:lstStyle/>
                    <a:p>
                      <a:pPr algn="ctr"/>
                      <a:r>
                        <a:rPr lang="it-IT" sz="800" dirty="0">
                          <a:latin typeface="+mn-lt"/>
                        </a:rPr>
                        <a:t>Opera</a:t>
                      </a:r>
                    </a:p>
                  </a:txBody>
                  <a:tcPr anchor="ctr"/>
                </a:tc>
                <a:tc>
                  <a:txBody>
                    <a:bodyPr/>
                    <a:lstStyle/>
                    <a:p>
                      <a:pPr algn="ctr"/>
                      <a:r>
                        <a:rPr lang="it-IT" sz="800" dirty="0">
                          <a:latin typeface="+mn-lt"/>
                        </a:rPr>
                        <a:t>Camp.</a:t>
                      </a:r>
                    </a:p>
                  </a:txBody>
                  <a:tcPr anchor="ctr"/>
                </a:tc>
                <a:tc>
                  <a:txBody>
                    <a:bodyPr/>
                    <a:lstStyle/>
                    <a:p>
                      <a:pPr algn="ctr"/>
                      <a:r>
                        <a:rPr lang="it-IT" sz="800" dirty="0" err="1">
                          <a:latin typeface="+mn-lt"/>
                        </a:rPr>
                        <a:t>Lmax</a:t>
                      </a:r>
                      <a:endParaRPr lang="it-IT" sz="800" dirty="0">
                        <a:latin typeface="+mn-lt"/>
                      </a:endParaRPr>
                    </a:p>
                  </a:txBody>
                  <a:tcPr anchor="ctr"/>
                </a:tc>
                <a:tc>
                  <a:txBody>
                    <a:bodyPr/>
                    <a:lstStyle/>
                    <a:p>
                      <a:pPr algn="ctr"/>
                      <a:r>
                        <a:rPr lang="it-IT" sz="800" dirty="0">
                          <a:latin typeface="+mn-lt"/>
                        </a:rPr>
                        <a:t>Materiali</a:t>
                      </a:r>
                    </a:p>
                  </a:txBody>
                  <a:tcPr anchor="ctr"/>
                </a:tc>
                <a:tc>
                  <a:txBody>
                    <a:bodyPr/>
                    <a:lstStyle/>
                    <a:p>
                      <a:pPr algn="ctr"/>
                      <a:r>
                        <a:rPr lang="it-IT" sz="800" dirty="0">
                          <a:latin typeface="+mn-lt"/>
                        </a:rPr>
                        <a:t>Tipologia impalcato</a:t>
                      </a:r>
                    </a:p>
                  </a:txBody>
                  <a:tcPr anchor="ctr"/>
                </a:tc>
                <a:tc>
                  <a:txBody>
                    <a:bodyPr/>
                    <a:lstStyle/>
                    <a:p>
                      <a:pPr algn="ctr"/>
                      <a:r>
                        <a:rPr lang="it-IT" sz="800" dirty="0">
                          <a:latin typeface="+mn-lt"/>
                        </a:rPr>
                        <a:t>Fondazioni</a:t>
                      </a:r>
                    </a:p>
                  </a:txBody>
                  <a:tcPr anchor="ctr"/>
                </a:tc>
                <a:extLst>
                  <a:ext uri="{0D108BD9-81ED-4DB2-BD59-A6C34878D82A}">
                    <a16:rowId xmlns:a16="http://schemas.microsoft.com/office/drawing/2014/main" val="2255424611"/>
                  </a:ext>
                </a:extLst>
              </a:tr>
              <a:tr h="213360">
                <a:tc>
                  <a:txBody>
                    <a:bodyPr/>
                    <a:lstStyle/>
                    <a:p>
                      <a:pPr algn="l"/>
                      <a:r>
                        <a:rPr lang="it-IT" sz="800" dirty="0">
                          <a:latin typeface="+mn-lt"/>
                        </a:rPr>
                        <a:t>Rampa A</a:t>
                      </a:r>
                    </a:p>
                  </a:txBody>
                  <a:tcPr anchor="ctr"/>
                </a:tc>
                <a:tc>
                  <a:txBody>
                    <a:bodyPr/>
                    <a:lstStyle/>
                    <a:p>
                      <a:pPr algn="ctr"/>
                      <a:r>
                        <a:rPr lang="it-IT" sz="800" dirty="0">
                          <a:latin typeface="+mn-lt"/>
                        </a:rPr>
                        <a:t>7</a:t>
                      </a:r>
                    </a:p>
                  </a:txBody>
                  <a:tcPr anchor="ctr"/>
                </a:tc>
                <a:tc>
                  <a:txBody>
                    <a:bodyPr/>
                    <a:lstStyle/>
                    <a:p>
                      <a:pPr algn="ctr"/>
                      <a:r>
                        <a:rPr lang="it-IT" sz="800" dirty="0">
                          <a:latin typeface="+mn-lt"/>
                        </a:rPr>
                        <a:t>40</a:t>
                      </a:r>
                    </a:p>
                  </a:txBody>
                  <a:tcPr anchor="ctr"/>
                </a:tc>
                <a:tc>
                  <a:txBody>
                    <a:bodyPr/>
                    <a:lstStyle/>
                    <a:p>
                      <a:pPr algn="ctr"/>
                      <a:r>
                        <a:rPr lang="it-IT" sz="800" dirty="0">
                          <a:latin typeface="+mn-lt"/>
                        </a:rPr>
                        <a:t>acciaio-</a:t>
                      </a:r>
                      <a:r>
                        <a:rPr lang="it-IT" sz="800" dirty="0" err="1">
                          <a:latin typeface="+mn-lt"/>
                        </a:rPr>
                        <a:t>cls</a:t>
                      </a:r>
                      <a:endParaRPr lang="it-IT" sz="800" dirty="0">
                        <a:latin typeface="+mn-lt"/>
                      </a:endParaRPr>
                    </a:p>
                  </a:txBody>
                  <a:tcPr anchor="ctr"/>
                </a:tc>
                <a:tc>
                  <a:txBody>
                    <a:bodyPr/>
                    <a:lstStyle/>
                    <a:p>
                      <a:pPr algn="ctr"/>
                      <a:r>
                        <a:rPr lang="it-IT" sz="800" dirty="0">
                          <a:latin typeface="+mn-lt"/>
                        </a:rPr>
                        <a:t>Cassone </a:t>
                      </a:r>
                      <a:r>
                        <a:rPr lang="it-IT" sz="800" dirty="0" err="1">
                          <a:latin typeface="+mn-lt"/>
                        </a:rPr>
                        <a:t>torsiorigido</a:t>
                      </a:r>
                      <a:r>
                        <a:rPr lang="it-IT" sz="800" dirty="0">
                          <a:latin typeface="+mn-lt"/>
                        </a:rPr>
                        <a:t> </a:t>
                      </a:r>
                      <a:r>
                        <a:rPr lang="it-IT" sz="800" dirty="0" err="1">
                          <a:latin typeface="+mn-lt"/>
                        </a:rPr>
                        <a:t>bitrave</a:t>
                      </a:r>
                      <a:endParaRPr lang="it-IT" sz="800" dirty="0">
                        <a:latin typeface="+mn-lt"/>
                      </a:endParaRPr>
                    </a:p>
                  </a:txBody>
                  <a:tcPr anchor="ctr"/>
                </a:tc>
                <a:tc>
                  <a:txBody>
                    <a:bodyPr/>
                    <a:lstStyle/>
                    <a:p>
                      <a:pPr algn="ctr"/>
                      <a:r>
                        <a:rPr lang="it-IT" sz="800" dirty="0">
                          <a:latin typeface="+mn-lt"/>
                        </a:rPr>
                        <a:t>diretta + micropali + pozzo</a:t>
                      </a:r>
                    </a:p>
                  </a:txBody>
                  <a:tcPr anchor="ctr"/>
                </a:tc>
                <a:extLst>
                  <a:ext uri="{0D108BD9-81ED-4DB2-BD59-A6C34878D82A}">
                    <a16:rowId xmlns:a16="http://schemas.microsoft.com/office/drawing/2014/main" val="3314439511"/>
                  </a:ext>
                </a:extLst>
              </a:tr>
              <a:tr h="213360">
                <a:tc>
                  <a:txBody>
                    <a:bodyPr/>
                    <a:lstStyle/>
                    <a:p>
                      <a:pPr algn="l"/>
                      <a:r>
                        <a:rPr lang="it-IT" sz="800" dirty="0">
                          <a:latin typeface="+mn-lt"/>
                        </a:rPr>
                        <a:t>Rampa B</a:t>
                      </a:r>
                    </a:p>
                  </a:txBody>
                  <a:tcPr anchor="ctr"/>
                </a:tc>
                <a:tc>
                  <a:txBody>
                    <a:bodyPr/>
                    <a:lstStyle/>
                    <a:p>
                      <a:pPr algn="ctr"/>
                      <a:r>
                        <a:rPr lang="it-IT" sz="800" dirty="0">
                          <a:latin typeface="+mn-lt"/>
                        </a:rPr>
                        <a:t>4</a:t>
                      </a:r>
                    </a:p>
                  </a:txBody>
                  <a:tcPr anchor="ctr"/>
                </a:tc>
                <a:tc>
                  <a:txBody>
                    <a:bodyPr/>
                    <a:lstStyle/>
                    <a:p>
                      <a:pPr algn="ctr"/>
                      <a:r>
                        <a:rPr lang="it-IT" sz="800" dirty="0">
                          <a:latin typeface="+mn-lt"/>
                        </a:rPr>
                        <a:t>52</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800" dirty="0">
                          <a:latin typeface="+mn-lt"/>
                        </a:rPr>
                        <a:t>acciaio-</a:t>
                      </a:r>
                      <a:r>
                        <a:rPr lang="it-IT" sz="800" dirty="0" err="1">
                          <a:latin typeface="+mn-lt"/>
                        </a:rPr>
                        <a:t>cls</a:t>
                      </a:r>
                      <a:endParaRPr lang="it-IT" sz="800" dirty="0">
                        <a:latin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800" dirty="0">
                          <a:latin typeface="+mn-lt"/>
                        </a:rPr>
                        <a:t>Cassone </a:t>
                      </a:r>
                      <a:r>
                        <a:rPr lang="it-IT" sz="800" dirty="0" err="1">
                          <a:latin typeface="+mn-lt"/>
                        </a:rPr>
                        <a:t>torsiorigido</a:t>
                      </a:r>
                      <a:r>
                        <a:rPr lang="it-IT" sz="800" dirty="0">
                          <a:latin typeface="+mn-lt"/>
                        </a:rPr>
                        <a:t> </a:t>
                      </a:r>
                      <a:r>
                        <a:rPr lang="it-IT" sz="800" dirty="0" err="1">
                          <a:latin typeface="+mn-lt"/>
                        </a:rPr>
                        <a:t>bitrave</a:t>
                      </a:r>
                      <a:endParaRPr lang="it-IT" sz="800" dirty="0">
                        <a:latin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800" dirty="0">
                          <a:latin typeface="+mn-lt"/>
                        </a:rPr>
                        <a:t>diretta + micropali + pali</a:t>
                      </a:r>
                    </a:p>
                  </a:txBody>
                  <a:tcPr anchor="ctr"/>
                </a:tc>
                <a:extLst>
                  <a:ext uri="{0D108BD9-81ED-4DB2-BD59-A6C34878D82A}">
                    <a16:rowId xmlns:a16="http://schemas.microsoft.com/office/drawing/2014/main" val="3107351110"/>
                  </a:ext>
                </a:extLst>
              </a:tr>
              <a:tr h="213360">
                <a:tc>
                  <a:txBody>
                    <a:bodyPr/>
                    <a:lstStyle/>
                    <a:p>
                      <a:pPr algn="l"/>
                      <a:r>
                        <a:rPr lang="it-IT" sz="800" dirty="0">
                          <a:latin typeface="+mn-lt"/>
                        </a:rPr>
                        <a:t>Rampa C</a:t>
                      </a:r>
                    </a:p>
                  </a:txBody>
                  <a:tcPr anchor="ctr"/>
                </a:tc>
                <a:tc>
                  <a:txBody>
                    <a:bodyPr/>
                    <a:lstStyle/>
                    <a:p>
                      <a:pPr algn="ctr"/>
                      <a:r>
                        <a:rPr lang="it-IT" sz="800" dirty="0">
                          <a:latin typeface="+mn-lt"/>
                        </a:rPr>
                        <a:t>4</a:t>
                      </a:r>
                    </a:p>
                  </a:txBody>
                  <a:tcPr anchor="ctr"/>
                </a:tc>
                <a:tc>
                  <a:txBody>
                    <a:bodyPr/>
                    <a:lstStyle/>
                    <a:p>
                      <a:pPr algn="ctr"/>
                      <a:r>
                        <a:rPr lang="it-IT" sz="800" dirty="0">
                          <a:latin typeface="+mn-lt"/>
                        </a:rPr>
                        <a:t>4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800" dirty="0">
                          <a:latin typeface="+mn-lt"/>
                        </a:rPr>
                        <a:t>acciaio-</a:t>
                      </a:r>
                      <a:r>
                        <a:rPr lang="it-IT" sz="800" dirty="0" err="1">
                          <a:latin typeface="+mn-lt"/>
                        </a:rPr>
                        <a:t>cls</a:t>
                      </a:r>
                      <a:endParaRPr lang="it-IT" sz="800" dirty="0">
                        <a:latin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0065A4"/>
                          </a:solidFill>
                          <a:effectLst/>
                          <a:uLnTx/>
                          <a:uFillTx/>
                          <a:latin typeface="+mn-lt"/>
                          <a:ea typeface="맑은 고딕"/>
                          <a:cs typeface="+mn-cs"/>
                        </a:rPr>
                        <a:t>Cassone </a:t>
                      </a:r>
                      <a:r>
                        <a:rPr kumimoji="0" lang="it-IT" sz="800" b="0" i="0" u="none" strike="noStrike" kern="1200" cap="none" spc="0" normalizeH="0" baseline="0" noProof="0" dirty="0" err="1">
                          <a:ln>
                            <a:noFill/>
                          </a:ln>
                          <a:solidFill>
                            <a:srgbClr val="0065A4"/>
                          </a:solidFill>
                          <a:effectLst/>
                          <a:uLnTx/>
                          <a:uFillTx/>
                          <a:latin typeface="+mn-lt"/>
                          <a:ea typeface="맑은 고딕"/>
                          <a:cs typeface="+mn-cs"/>
                        </a:rPr>
                        <a:t>torsiorigido</a:t>
                      </a:r>
                      <a:r>
                        <a:rPr kumimoji="0" lang="it-IT" sz="800" b="0" i="0" u="none" strike="noStrike" kern="1200" cap="none" spc="0" normalizeH="0" baseline="0" noProof="0" dirty="0">
                          <a:ln>
                            <a:noFill/>
                          </a:ln>
                          <a:solidFill>
                            <a:srgbClr val="0065A4"/>
                          </a:solidFill>
                          <a:effectLst/>
                          <a:uLnTx/>
                          <a:uFillTx/>
                          <a:latin typeface="+mn-lt"/>
                          <a:ea typeface="맑은 고딕"/>
                          <a:cs typeface="+mn-cs"/>
                        </a:rPr>
                        <a:t> </a:t>
                      </a:r>
                      <a:r>
                        <a:rPr kumimoji="0" lang="it-IT" sz="800" b="0" i="0" u="none" strike="noStrike" kern="1200" cap="none" spc="0" normalizeH="0" baseline="0" noProof="0" dirty="0" err="1">
                          <a:ln>
                            <a:noFill/>
                          </a:ln>
                          <a:solidFill>
                            <a:srgbClr val="0065A4"/>
                          </a:solidFill>
                          <a:effectLst/>
                          <a:uLnTx/>
                          <a:uFillTx/>
                          <a:latin typeface="+mn-lt"/>
                          <a:ea typeface="맑은 고딕"/>
                          <a:cs typeface="+mn-cs"/>
                        </a:rPr>
                        <a:t>bitrave</a:t>
                      </a:r>
                      <a:endParaRPr kumimoji="0" lang="it-IT" sz="800" b="0" i="0" u="none" strike="noStrike" kern="1200" cap="none" spc="0" normalizeH="0" baseline="0" noProof="0" dirty="0">
                        <a:ln>
                          <a:noFill/>
                        </a:ln>
                        <a:solidFill>
                          <a:srgbClr val="0065A4"/>
                        </a:solidFill>
                        <a:effectLst/>
                        <a:uLnTx/>
                        <a:uFillTx/>
                        <a:latin typeface="+mn-lt"/>
                        <a:ea typeface="맑은 고딕"/>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0065A4"/>
                          </a:solidFill>
                          <a:effectLst/>
                          <a:uLnTx/>
                          <a:uFillTx/>
                          <a:latin typeface="+mn-lt"/>
                          <a:ea typeface="맑은 고딕"/>
                          <a:cs typeface="+mn-cs"/>
                        </a:rPr>
                        <a:t>pozzo + diretta</a:t>
                      </a:r>
                    </a:p>
                  </a:txBody>
                  <a:tcPr anchor="ctr"/>
                </a:tc>
                <a:extLst>
                  <a:ext uri="{0D108BD9-81ED-4DB2-BD59-A6C34878D82A}">
                    <a16:rowId xmlns:a16="http://schemas.microsoft.com/office/drawing/2014/main" val="668086908"/>
                  </a:ext>
                </a:extLst>
              </a:tr>
              <a:tr h="213360">
                <a:tc>
                  <a:txBody>
                    <a:bodyPr/>
                    <a:lstStyle/>
                    <a:p>
                      <a:pPr algn="l"/>
                      <a:r>
                        <a:rPr lang="it-IT" sz="800" dirty="0">
                          <a:latin typeface="+mn-lt"/>
                        </a:rPr>
                        <a:t>Rampa D</a:t>
                      </a:r>
                    </a:p>
                  </a:txBody>
                  <a:tcPr anchor="ctr"/>
                </a:tc>
                <a:tc>
                  <a:txBody>
                    <a:bodyPr/>
                    <a:lstStyle/>
                    <a:p>
                      <a:pPr algn="ctr"/>
                      <a:r>
                        <a:rPr lang="it-IT" sz="800" dirty="0">
                          <a:latin typeface="+mn-lt"/>
                        </a:rPr>
                        <a:t>5</a:t>
                      </a:r>
                    </a:p>
                  </a:txBody>
                  <a:tcPr anchor="ctr"/>
                </a:tc>
                <a:tc>
                  <a:txBody>
                    <a:bodyPr/>
                    <a:lstStyle/>
                    <a:p>
                      <a:pPr algn="ctr"/>
                      <a:r>
                        <a:rPr lang="it-IT" sz="800" dirty="0">
                          <a:latin typeface="+mn-lt"/>
                        </a:rPr>
                        <a:t>4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800" dirty="0">
                          <a:latin typeface="+mn-lt"/>
                        </a:rPr>
                        <a:t>acciaio-</a:t>
                      </a:r>
                      <a:r>
                        <a:rPr lang="it-IT" sz="800" dirty="0" err="1">
                          <a:latin typeface="+mn-lt"/>
                        </a:rPr>
                        <a:t>cls</a:t>
                      </a:r>
                      <a:endParaRPr lang="it-IT" sz="800" dirty="0">
                        <a:latin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0065A4"/>
                          </a:solidFill>
                          <a:effectLst/>
                          <a:uLnTx/>
                          <a:uFillTx/>
                          <a:latin typeface="+mn-lt"/>
                          <a:ea typeface="맑은 고딕"/>
                          <a:cs typeface="+mn-cs"/>
                        </a:rPr>
                        <a:t>Cassone </a:t>
                      </a:r>
                      <a:r>
                        <a:rPr kumimoji="0" lang="it-IT" sz="800" b="0" i="0" u="none" strike="noStrike" kern="1200" cap="none" spc="0" normalizeH="0" baseline="0" noProof="0" dirty="0" err="1">
                          <a:ln>
                            <a:noFill/>
                          </a:ln>
                          <a:solidFill>
                            <a:srgbClr val="0065A4"/>
                          </a:solidFill>
                          <a:effectLst/>
                          <a:uLnTx/>
                          <a:uFillTx/>
                          <a:latin typeface="+mn-lt"/>
                          <a:ea typeface="맑은 고딕"/>
                          <a:cs typeface="+mn-cs"/>
                        </a:rPr>
                        <a:t>torsiorigido</a:t>
                      </a:r>
                      <a:r>
                        <a:rPr kumimoji="0" lang="it-IT" sz="800" b="0" i="0" u="none" strike="noStrike" kern="1200" cap="none" spc="0" normalizeH="0" baseline="0" noProof="0" dirty="0">
                          <a:ln>
                            <a:noFill/>
                          </a:ln>
                          <a:solidFill>
                            <a:srgbClr val="0065A4"/>
                          </a:solidFill>
                          <a:effectLst/>
                          <a:uLnTx/>
                          <a:uFillTx/>
                          <a:latin typeface="+mn-lt"/>
                          <a:ea typeface="맑은 고딕"/>
                          <a:cs typeface="+mn-cs"/>
                        </a:rPr>
                        <a:t> </a:t>
                      </a:r>
                      <a:r>
                        <a:rPr kumimoji="0" lang="it-IT" sz="800" b="0" i="0" u="none" strike="noStrike" kern="1200" cap="none" spc="0" normalizeH="0" baseline="0" noProof="0" dirty="0" err="1">
                          <a:ln>
                            <a:noFill/>
                          </a:ln>
                          <a:solidFill>
                            <a:srgbClr val="0065A4"/>
                          </a:solidFill>
                          <a:effectLst/>
                          <a:uLnTx/>
                          <a:uFillTx/>
                          <a:latin typeface="+mn-lt"/>
                          <a:ea typeface="맑은 고딕"/>
                          <a:cs typeface="+mn-cs"/>
                        </a:rPr>
                        <a:t>bitrave</a:t>
                      </a:r>
                      <a:endParaRPr kumimoji="0" lang="it-IT" sz="800" b="0" i="0" u="none" strike="noStrike" kern="1200" cap="none" spc="0" normalizeH="0" baseline="0" noProof="0" dirty="0">
                        <a:ln>
                          <a:noFill/>
                        </a:ln>
                        <a:solidFill>
                          <a:srgbClr val="0065A4"/>
                        </a:solidFill>
                        <a:effectLst/>
                        <a:uLnTx/>
                        <a:uFillTx/>
                        <a:latin typeface="+mn-lt"/>
                        <a:ea typeface="맑은 고딕"/>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0065A4"/>
                          </a:solidFill>
                          <a:effectLst/>
                          <a:uLnTx/>
                          <a:uFillTx/>
                          <a:latin typeface="+mn-lt"/>
                          <a:ea typeface="맑은 고딕"/>
                          <a:cs typeface="+mn-cs"/>
                        </a:rPr>
                        <a:t>pozzo + micropali + diretta</a:t>
                      </a:r>
                    </a:p>
                  </a:txBody>
                  <a:tcPr anchor="ctr"/>
                </a:tc>
                <a:extLst>
                  <a:ext uri="{0D108BD9-81ED-4DB2-BD59-A6C34878D82A}">
                    <a16:rowId xmlns:a16="http://schemas.microsoft.com/office/drawing/2014/main" val="2294934121"/>
                  </a:ext>
                </a:extLst>
              </a:tr>
              <a:tr h="213360">
                <a:tc>
                  <a:txBody>
                    <a:bodyPr/>
                    <a:lstStyle/>
                    <a:p>
                      <a:pPr algn="l"/>
                      <a:r>
                        <a:rPr lang="it-IT" sz="800" dirty="0">
                          <a:latin typeface="+mn-lt"/>
                        </a:rPr>
                        <a:t>Rampa D-1</a:t>
                      </a:r>
                    </a:p>
                  </a:txBody>
                  <a:tcPr anchor="ctr"/>
                </a:tc>
                <a:tc>
                  <a:txBody>
                    <a:bodyPr/>
                    <a:lstStyle/>
                    <a:p>
                      <a:pPr algn="ctr"/>
                      <a:r>
                        <a:rPr lang="it-IT" sz="800" dirty="0">
                          <a:latin typeface="+mn-lt"/>
                        </a:rPr>
                        <a:t>1</a:t>
                      </a:r>
                    </a:p>
                  </a:txBody>
                  <a:tcPr anchor="ctr"/>
                </a:tc>
                <a:tc>
                  <a:txBody>
                    <a:bodyPr/>
                    <a:lstStyle/>
                    <a:p>
                      <a:pPr algn="ctr"/>
                      <a:r>
                        <a:rPr lang="it-IT" sz="800" dirty="0">
                          <a:latin typeface="+mn-lt"/>
                        </a:rPr>
                        <a:t>3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800" dirty="0">
                          <a:latin typeface="+mn-lt"/>
                        </a:rPr>
                        <a:t>acciaio-</a:t>
                      </a:r>
                      <a:r>
                        <a:rPr lang="it-IT" sz="800" dirty="0" err="1">
                          <a:latin typeface="+mn-lt"/>
                        </a:rPr>
                        <a:t>cls</a:t>
                      </a:r>
                      <a:endParaRPr lang="it-IT" sz="800" dirty="0">
                        <a:latin typeface="+mn-lt"/>
                      </a:endParaRPr>
                    </a:p>
                  </a:txBody>
                  <a:tcPr anchor="ctr"/>
                </a:tc>
                <a:tc>
                  <a:txBody>
                    <a:bodyPr/>
                    <a:lstStyle/>
                    <a:p>
                      <a:pPr algn="ctr"/>
                      <a:r>
                        <a:rPr lang="it-IT" sz="800" dirty="0">
                          <a:latin typeface="+mn-lt"/>
                        </a:rPr>
                        <a:t>Grigliato 4 travi</a:t>
                      </a:r>
                    </a:p>
                  </a:txBody>
                  <a:tcPr anchor="ctr"/>
                </a:tc>
                <a:tc>
                  <a:txBody>
                    <a:bodyPr/>
                    <a:lstStyle/>
                    <a:p>
                      <a:pPr algn="ctr"/>
                      <a:r>
                        <a:rPr lang="it-IT" sz="800" dirty="0">
                          <a:latin typeface="+mn-lt"/>
                        </a:rPr>
                        <a:t>micropali</a:t>
                      </a:r>
                    </a:p>
                  </a:txBody>
                  <a:tcPr anchor="ctr"/>
                </a:tc>
                <a:extLst>
                  <a:ext uri="{0D108BD9-81ED-4DB2-BD59-A6C34878D82A}">
                    <a16:rowId xmlns:a16="http://schemas.microsoft.com/office/drawing/2014/main" val="1823903628"/>
                  </a:ext>
                </a:extLst>
              </a:tr>
              <a:tr h="0">
                <a:tc>
                  <a:txBody>
                    <a:bodyPr/>
                    <a:lstStyle/>
                    <a:p>
                      <a:pPr algn="l"/>
                      <a:r>
                        <a:rPr lang="it-IT" sz="800" dirty="0">
                          <a:latin typeface="+mn-lt"/>
                        </a:rPr>
                        <a:t>Rampa D-2</a:t>
                      </a:r>
                    </a:p>
                  </a:txBody>
                  <a:tcPr anchor="ctr"/>
                </a:tc>
                <a:tc>
                  <a:txBody>
                    <a:bodyPr/>
                    <a:lstStyle/>
                    <a:p>
                      <a:pPr algn="ctr"/>
                      <a:r>
                        <a:rPr lang="it-IT" sz="800" dirty="0">
                          <a:latin typeface="+mn-lt"/>
                        </a:rPr>
                        <a:t>8</a:t>
                      </a:r>
                    </a:p>
                  </a:txBody>
                  <a:tcPr anchor="ctr"/>
                </a:tc>
                <a:tc>
                  <a:txBody>
                    <a:bodyPr/>
                    <a:lstStyle/>
                    <a:p>
                      <a:pPr algn="ctr"/>
                      <a:r>
                        <a:rPr lang="it-IT" sz="800" dirty="0">
                          <a:latin typeface="+mn-lt"/>
                        </a:rPr>
                        <a:t>21</a:t>
                      </a:r>
                    </a:p>
                  </a:txBody>
                  <a:tcPr anchor="ctr"/>
                </a:tc>
                <a:tc>
                  <a:txBody>
                    <a:bodyPr/>
                    <a:lstStyle/>
                    <a:p>
                      <a:pPr algn="ctr"/>
                      <a:r>
                        <a:rPr lang="it-IT" sz="800" dirty="0">
                          <a:latin typeface="+mn-lt"/>
                        </a:rPr>
                        <a:t>c.a.</a:t>
                      </a:r>
                    </a:p>
                  </a:txBody>
                  <a:tcPr anchor="ctr"/>
                </a:tc>
                <a:tc>
                  <a:txBody>
                    <a:bodyPr/>
                    <a:lstStyle/>
                    <a:p>
                      <a:pPr algn="ctr"/>
                      <a:r>
                        <a:rPr lang="it-IT" sz="800" dirty="0">
                          <a:latin typeface="+mn-lt"/>
                        </a:rPr>
                        <a:t>Piastra continua su setti</a:t>
                      </a:r>
                    </a:p>
                  </a:txBody>
                  <a:tcPr anchor="ctr"/>
                </a:tc>
                <a:tc>
                  <a:txBody>
                    <a:bodyPr/>
                    <a:lstStyle/>
                    <a:p>
                      <a:pPr algn="ctr"/>
                      <a:r>
                        <a:rPr lang="it-IT" sz="800" dirty="0">
                          <a:latin typeface="+mn-lt"/>
                        </a:rPr>
                        <a:t>micropali</a:t>
                      </a:r>
                    </a:p>
                  </a:txBody>
                  <a:tcPr anchor="ctr"/>
                </a:tc>
                <a:extLst>
                  <a:ext uri="{0D108BD9-81ED-4DB2-BD59-A6C34878D82A}">
                    <a16:rowId xmlns:a16="http://schemas.microsoft.com/office/drawing/2014/main" val="1668731302"/>
                  </a:ext>
                </a:extLst>
              </a:tr>
              <a:tr h="213360">
                <a:tc>
                  <a:txBody>
                    <a:bodyPr/>
                    <a:lstStyle/>
                    <a:p>
                      <a:pPr algn="l"/>
                      <a:r>
                        <a:rPr lang="it-IT" sz="800" dirty="0">
                          <a:latin typeface="+mn-lt"/>
                        </a:rPr>
                        <a:t>Ponte Casalino</a:t>
                      </a:r>
                    </a:p>
                  </a:txBody>
                  <a:tcPr anchor="ctr"/>
                </a:tc>
                <a:tc>
                  <a:txBody>
                    <a:bodyPr/>
                    <a:lstStyle/>
                    <a:p>
                      <a:pPr algn="ctr"/>
                      <a:r>
                        <a:rPr lang="it-IT" sz="800" dirty="0">
                          <a:latin typeface="+mn-lt"/>
                        </a:rPr>
                        <a:t>3</a:t>
                      </a:r>
                    </a:p>
                  </a:txBody>
                  <a:tcPr anchor="ctr"/>
                </a:tc>
                <a:tc>
                  <a:txBody>
                    <a:bodyPr/>
                    <a:lstStyle/>
                    <a:p>
                      <a:pPr algn="ctr"/>
                      <a:r>
                        <a:rPr lang="it-IT" sz="800" dirty="0">
                          <a:latin typeface="+mn-lt"/>
                        </a:rPr>
                        <a:t>43.7</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800" dirty="0">
                          <a:latin typeface="+mn-lt"/>
                        </a:rPr>
                        <a:t>acciaio-</a:t>
                      </a:r>
                      <a:r>
                        <a:rPr lang="it-IT" sz="800" dirty="0" err="1">
                          <a:latin typeface="+mn-lt"/>
                        </a:rPr>
                        <a:t>cls</a:t>
                      </a:r>
                      <a:endParaRPr lang="it-IT" sz="800" dirty="0">
                        <a:latin typeface="+mn-lt"/>
                      </a:endParaRPr>
                    </a:p>
                  </a:txBody>
                  <a:tcPr anchor="ctr"/>
                </a:tc>
                <a:tc>
                  <a:txBody>
                    <a:bodyPr/>
                    <a:lstStyle/>
                    <a:p>
                      <a:pPr algn="ctr"/>
                      <a:r>
                        <a:rPr lang="it-IT" sz="800" dirty="0">
                          <a:latin typeface="+mn-lt"/>
                        </a:rPr>
                        <a:t>ampliamento monotrave</a:t>
                      </a:r>
                    </a:p>
                  </a:txBody>
                  <a:tcPr anchor="ctr"/>
                </a:tc>
                <a:tc>
                  <a:txBody>
                    <a:bodyPr/>
                    <a:lstStyle/>
                    <a:p>
                      <a:pPr algn="ctr"/>
                      <a:r>
                        <a:rPr lang="it-IT" sz="800" dirty="0">
                          <a:latin typeface="+mn-lt"/>
                        </a:rPr>
                        <a:t>dirette</a:t>
                      </a:r>
                    </a:p>
                  </a:txBody>
                  <a:tcPr anchor="ctr"/>
                </a:tc>
                <a:extLst>
                  <a:ext uri="{0D108BD9-81ED-4DB2-BD59-A6C34878D82A}">
                    <a16:rowId xmlns:a16="http://schemas.microsoft.com/office/drawing/2014/main" val="554919626"/>
                  </a:ext>
                </a:extLst>
              </a:tr>
              <a:tr h="213360">
                <a:tc>
                  <a:txBody>
                    <a:bodyPr/>
                    <a:lstStyle/>
                    <a:p>
                      <a:pPr algn="l"/>
                      <a:r>
                        <a:rPr lang="it-IT" sz="800" dirty="0">
                          <a:latin typeface="+mn-lt"/>
                        </a:rPr>
                        <a:t>Op. scavalco A12</a:t>
                      </a:r>
                    </a:p>
                  </a:txBody>
                  <a:tcPr anchor="ctr"/>
                </a:tc>
                <a:tc>
                  <a:txBody>
                    <a:bodyPr/>
                    <a:lstStyle/>
                    <a:p>
                      <a:pPr algn="ctr"/>
                      <a:r>
                        <a:rPr lang="it-IT" sz="800" dirty="0">
                          <a:latin typeface="+mn-lt"/>
                        </a:rPr>
                        <a:t>3</a:t>
                      </a:r>
                    </a:p>
                  </a:txBody>
                  <a:tcPr anchor="ctr"/>
                </a:tc>
                <a:tc>
                  <a:txBody>
                    <a:bodyPr/>
                    <a:lstStyle/>
                    <a:p>
                      <a:pPr algn="ctr"/>
                      <a:r>
                        <a:rPr lang="it-IT" sz="800" dirty="0">
                          <a:latin typeface="+mn-lt"/>
                        </a:rPr>
                        <a:t>44</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800" dirty="0">
                          <a:latin typeface="+mn-lt"/>
                        </a:rPr>
                        <a:t>acciaio-</a:t>
                      </a:r>
                      <a:r>
                        <a:rPr lang="it-IT" sz="800" dirty="0" err="1">
                          <a:latin typeface="+mn-lt"/>
                        </a:rPr>
                        <a:t>cls</a:t>
                      </a:r>
                      <a:endParaRPr lang="it-IT" sz="800" dirty="0">
                        <a:latin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0065A4"/>
                          </a:solidFill>
                          <a:effectLst/>
                          <a:uLnTx/>
                          <a:uFillTx/>
                          <a:latin typeface="+mn-lt"/>
                          <a:ea typeface="맑은 고딕"/>
                          <a:cs typeface="+mn-cs"/>
                        </a:rPr>
                        <a:t>Cassone </a:t>
                      </a:r>
                      <a:r>
                        <a:rPr kumimoji="0" lang="it-IT" sz="800" b="0" i="0" u="none" strike="noStrike" kern="1200" cap="none" spc="0" normalizeH="0" baseline="0" noProof="0" dirty="0" err="1">
                          <a:ln>
                            <a:noFill/>
                          </a:ln>
                          <a:solidFill>
                            <a:srgbClr val="0065A4"/>
                          </a:solidFill>
                          <a:effectLst/>
                          <a:uLnTx/>
                          <a:uFillTx/>
                          <a:latin typeface="+mn-lt"/>
                          <a:ea typeface="맑은 고딕"/>
                          <a:cs typeface="+mn-cs"/>
                        </a:rPr>
                        <a:t>torsiorigido</a:t>
                      </a:r>
                      <a:r>
                        <a:rPr kumimoji="0" lang="it-IT" sz="800" b="0" i="0" u="none" strike="noStrike" kern="1200" cap="none" spc="0" normalizeH="0" baseline="0" noProof="0" dirty="0">
                          <a:ln>
                            <a:noFill/>
                          </a:ln>
                          <a:solidFill>
                            <a:srgbClr val="0065A4"/>
                          </a:solidFill>
                          <a:effectLst/>
                          <a:uLnTx/>
                          <a:uFillTx/>
                          <a:latin typeface="+mn-lt"/>
                          <a:ea typeface="맑은 고딕"/>
                          <a:cs typeface="+mn-cs"/>
                        </a:rPr>
                        <a:t> </a:t>
                      </a:r>
                      <a:r>
                        <a:rPr kumimoji="0" lang="it-IT" sz="800" b="0" i="0" u="none" strike="noStrike" kern="1200" cap="none" spc="0" normalizeH="0" baseline="0" noProof="0" dirty="0" err="1">
                          <a:ln>
                            <a:noFill/>
                          </a:ln>
                          <a:solidFill>
                            <a:srgbClr val="0065A4"/>
                          </a:solidFill>
                          <a:effectLst/>
                          <a:uLnTx/>
                          <a:uFillTx/>
                          <a:latin typeface="+mn-lt"/>
                          <a:ea typeface="맑은 고딕"/>
                          <a:cs typeface="+mn-cs"/>
                        </a:rPr>
                        <a:t>bitrave</a:t>
                      </a:r>
                      <a:endParaRPr kumimoji="0" lang="it-IT" sz="800" b="0" i="0" u="none" strike="noStrike" kern="1200" cap="none" spc="0" normalizeH="0" baseline="0" noProof="0" dirty="0">
                        <a:ln>
                          <a:noFill/>
                        </a:ln>
                        <a:solidFill>
                          <a:srgbClr val="0065A4"/>
                        </a:solidFill>
                        <a:effectLst/>
                        <a:uLnTx/>
                        <a:uFillTx/>
                        <a:latin typeface="+mn-lt"/>
                        <a:ea typeface="맑은 고딕"/>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800" dirty="0">
                          <a:latin typeface="+mn-lt"/>
                        </a:rPr>
                        <a:t>Dirette</a:t>
                      </a:r>
                      <a:r>
                        <a:rPr kumimoji="0" lang="it-IT" sz="800" b="0" i="0" u="none" strike="noStrike" kern="1200" cap="none" spc="0" normalizeH="0" baseline="0" noProof="0" dirty="0">
                          <a:ln>
                            <a:noFill/>
                          </a:ln>
                          <a:solidFill>
                            <a:srgbClr val="0065A4"/>
                          </a:solidFill>
                          <a:effectLst/>
                          <a:uLnTx/>
                          <a:uFillTx/>
                          <a:latin typeface="+mn-lt"/>
                          <a:ea typeface="맑은 고딕"/>
                          <a:cs typeface="+mn-cs"/>
                        </a:rPr>
                        <a:t> + pali</a:t>
                      </a:r>
                      <a:endParaRPr lang="it-IT" sz="800" dirty="0">
                        <a:latin typeface="+mn-lt"/>
                      </a:endParaRPr>
                    </a:p>
                  </a:txBody>
                  <a:tcPr anchor="ctr"/>
                </a:tc>
                <a:extLst>
                  <a:ext uri="{0D108BD9-81ED-4DB2-BD59-A6C34878D82A}">
                    <a16:rowId xmlns:a16="http://schemas.microsoft.com/office/drawing/2014/main" val="2854915710"/>
                  </a:ext>
                </a:extLst>
              </a:tr>
            </a:tbl>
          </a:graphicData>
        </a:graphic>
      </p:graphicFrame>
      <p:sp>
        <p:nvSpPr>
          <p:cNvPr id="2" name="CasellaDiTesto 1">
            <a:extLst>
              <a:ext uri="{FF2B5EF4-FFF2-40B4-BE49-F238E27FC236}">
                <a16:creationId xmlns:a16="http://schemas.microsoft.com/office/drawing/2014/main" id="{21431BEF-0B1E-418C-8876-7FA5FF6E023B}"/>
              </a:ext>
            </a:extLst>
          </p:cNvPr>
          <p:cNvSpPr txBox="1"/>
          <p:nvPr/>
        </p:nvSpPr>
        <p:spPr>
          <a:xfrm>
            <a:off x="5636144" y="5201737"/>
            <a:ext cx="850382" cy="276999"/>
          </a:xfrm>
          <a:prstGeom prst="rect">
            <a:avLst/>
          </a:prstGeom>
          <a:noFill/>
          <a:ln>
            <a:solidFill>
              <a:srgbClr val="FFFFFF"/>
            </a:solidFill>
          </a:ln>
        </p:spPr>
        <p:txBody>
          <a:bodyPr wrap="square" rtlCol="0">
            <a:spAutoFit/>
          </a:bodyPr>
          <a:lstStyle/>
          <a:p>
            <a:pPr algn="ctr"/>
            <a:r>
              <a:rPr lang="it-IT" sz="1200" b="1" dirty="0">
                <a:solidFill>
                  <a:schemeClr val="bg1"/>
                </a:solidFill>
              </a:rPr>
              <a:t>Rampa D</a:t>
            </a:r>
          </a:p>
        </p:txBody>
      </p:sp>
      <p:sp>
        <p:nvSpPr>
          <p:cNvPr id="11" name="CasellaDiTesto 10">
            <a:extLst>
              <a:ext uri="{FF2B5EF4-FFF2-40B4-BE49-F238E27FC236}">
                <a16:creationId xmlns:a16="http://schemas.microsoft.com/office/drawing/2014/main" id="{01703D21-9D23-4C75-AD52-EAD0B781FB65}"/>
              </a:ext>
            </a:extLst>
          </p:cNvPr>
          <p:cNvSpPr txBox="1"/>
          <p:nvPr/>
        </p:nvSpPr>
        <p:spPr>
          <a:xfrm>
            <a:off x="4370772" y="5701887"/>
            <a:ext cx="893620" cy="276999"/>
          </a:xfrm>
          <a:prstGeom prst="rect">
            <a:avLst/>
          </a:prstGeom>
          <a:noFill/>
          <a:ln>
            <a:solidFill>
              <a:srgbClr val="FFFFFF"/>
            </a:solidFill>
          </a:ln>
        </p:spPr>
        <p:txBody>
          <a:bodyPr wrap="square" rtlCol="0">
            <a:spAutoFit/>
          </a:bodyPr>
          <a:lstStyle/>
          <a:p>
            <a:pPr algn="ctr"/>
            <a:r>
              <a:rPr lang="it-IT" sz="1200" b="1" dirty="0">
                <a:solidFill>
                  <a:schemeClr val="bg1"/>
                </a:solidFill>
              </a:rPr>
              <a:t>Rampa A</a:t>
            </a:r>
          </a:p>
        </p:txBody>
      </p:sp>
      <p:sp>
        <p:nvSpPr>
          <p:cNvPr id="13" name="CasellaDiTesto 12">
            <a:extLst>
              <a:ext uri="{FF2B5EF4-FFF2-40B4-BE49-F238E27FC236}">
                <a16:creationId xmlns:a16="http://schemas.microsoft.com/office/drawing/2014/main" id="{6EC3B890-2F67-45EB-9E30-039E90482D33}"/>
              </a:ext>
            </a:extLst>
          </p:cNvPr>
          <p:cNvSpPr txBox="1"/>
          <p:nvPr/>
        </p:nvSpPr>
        <p:spPr>
          <a:xfrm>
            <a:off x="2984785" y="4589028"/>
            <a:ext cx="893620" cy="276999"/>
          </a:xfrm>
          <a:prstGeom prst="rect">
            <a:avLst/>
          </a:prstGeom>
          <a:noFill/>
          <a:ln>
            <a:solidFill>
              <a:srgbClr val="FFFFFF"/>
            </a:solidFill>
          </a:ln>
        </p:spPr>
        <p:txBody>
          <a:bodyPr wrap="square" rtlCol="0">
            <a:spAutoFit/>
          </a:bodyPr>
          <a:lstStyle/>
          <a:p>
            <a:pPr algn="ctr"/>
            <a:r>
              <a:rPr lang="it-IT" sz="1200" b="1" dirty="0">
                <a:solidFill>
                  <a:schemeClr val="bg1"/>
                </a:solidFill>
              </a:rPr>
              <a:t>Rampa C</a:t>
            </a:r>
          </a:p>
        </p:txBody>
      </p:sp>
      <p:sp>
        <p:nvSpPr>
          <p:cNvPr id="14" name="CasellaDiTesto 13">
            <a:extLst>
              <a:ext uri="{FF2B5EF4-FFF2-40B4-BE49-F238E27FC236}">
                <a16:creationId xmlns:a16="http://schemas.microsoft.com/office/drawing/2014/main" id="{056B76F8-5F27-4A07-B1F1-1D05328A3616}"/>
              </a:ext>
            </a:extLst>
          </p:cNvPr>
          <p:cNvSpPr txBox="1"/>
          <p:nvPr/>
        </p:nvSpPr>
        <p:spPr>
          <a:xfrm>
            <a:off x="3694459" y="3508517"/>
            <a:ext cx="968530" cy="276999"/>
          </a:xfrm>
          <a:prstGeom prst="rect">
            <a:avLst/>
          </a:prstGeom>
          <a:noFill/>
          <a:ln>
            <a:solidFill>
              <a:srgbClr val="FFFFFF"/>
            </a:solidFill>
          </a:ln>
        </p:spPr>
        <p:txBody>
          <a:bodyPr wrap="square" rtlCol="0">
            <a:spAutoFit/>
          </a:bodyPr>
          <a:lstStyle/>
          <a:p>
            <a:pPr algn="ctr"/>
            <a:r>
              <a:rPr lang="it-IT" sz="1200" b="1" dirty="0">
                <a:solidFill>
                  <a:schemeClr val="bg1"/>
                </a:solidFill>
              </a:rPr>
              <a:t>Rampa B</a:t>
            </a:r>
          </a:p>
        </p:txBody>
      </p:sp>
      <p:sp>
        <p:nvSpPr>
          <p:cNvPr id="17" name="CasellaDiTesto 16">
            <a:extLst>
              <a:ext uri="{FF2B5EF4-FFF2-40B4-BE49-F238E27FC236}">
                <a16:creationId xmlns:a16="http://schemas.microsoft.com/office/drawing/2014/main" id="{09DF55DD-DE1B-438E-B885-F51B7CCEBFB3}"/>
              </a:ext>
            </a:extLst>
          </p:cNvPr>
          <p:cNvSpPr txBox="1"/>
          <p:nvPr/>
        </p:nvSpPr>
        <p:spPr>
          <a:xfrm>
            <a:off x="9686474" y="4668049"/>
            <a:ext cx="1333952" cy="276999"/>
          </a:xfrm>
          <a:prstGeom prst="rect">
            <a:avLst/>
          </a:prstGeom>
          <a:noFill/>
          <a:ln>
            <a:solidFill>
              <a:srgbClr val="FFFFFF"/>
            </a:solidFill>
          </a:ln>
        </p:spPr>
        <p:txBody>
          <a:bodyPr wrap="square" rtlCol="0">
            <a:spAutoFit/>
          </a:bodyPr>
          <a:lstStyle/>
          <a:p>
            <a:pPr algn="ctr"/>
            <a:r>
              <a:rPr lang="it-IT" sz="1200" b="1" dirty="0">
                <a:solidFill>
                  <a:schemeClr val="bg1"/>
                </a:solidFill>
              </a:rPr>
              <a:t>Ponte Casalino</a:t>
            </a:r>
          </a:p>
        </p:txBody>
      </p:sp>
      <p:cxnSp>
        <p:nvCxnSpPr>
          <p:cNvPr id="8" name="Connettore 2 7">
            <a:extLst>
              <a:ext uri="{FF2B5EF4-FFF2-40B4-BE49-F238E27FC236}">
                <a16:creationId xmlns:a16="http://schemas.microsoft.com/office/drawing/2014/main" id="{CF833D60-EE0C-446C-827D-B61E8CAC86C4}"/>
              </a:ext>
            </a:extLst>
          </p:cNvPr>
          <p:cNvCxnSpPr/>
          <p:nvPr/>
        </p:nvCxnSpPr>
        <p:spPr>
          <a:xfrm flipH="1" flipV="1">
            <a:off x="4130917" y="5436160"/>
            <a:ext cx="239855" cy="270102"/>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ttore 2 22">
            <a:extLst>
              <a:ext uri="{FF2B5EF4-FFF2-40B4-BE49-F238E27FC236}">
                <a16:creationId xmlns:a16="http://schemas.microsoft.com/office/drawing/2014/main" id="{780E24E6-6BD0-4D77-8400-0AAA218D4DF1}"/>
              </a:ext>
            </a:extLst>
          </p:cNvPr>
          <p:cNvCxnSpPr/>
          <p:nvPr/>
        </p:nvCxnSpPr>
        <p:spPr>
          <a:xfrm flipH="1" flipV="1">
            <a:off x="5396288" y="4951732"/>
            <a:ext cx="239855" cy="270102"/>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ttore 2 23">
            <a:extLst>
              <a:ext uri="{FF2B5EF4-FFF2-40B4-BE49-F238E27FC236}">
                <a16:creationId xmlns:a16="http://schemas.microsoft.com/office/drawing/2014/main" id="{224F2E83-8A7C-4548-B793-54C307CC8611}"/>
              </a:ext>
            </a:extLst>
          </p:cNvPr>
          <p:cNvCxnSpPr>
            <a:cxnSpLocks/>
          </p:cNvCxnSpPr>
          <p:nvPr/>
        </p:nvCxnSpPr>
        <p:spPr>
          <a:xfrm flipH="1">
            <a:off x="3466969" y="3768318"/>
            <a:ext cx="239855" cy="288456"/>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ttore 2 24">
            <a:extLst>
              <a:ext uri="{FF2B5EF4-FFF2-40B4-BE49-F238E27FC236}">
                <a16:creationId xmlns:a16="http://schemas.microsoft.com/office/drawing/2014/main" id="{70AA69A0-8910-42EB-8700-22C82A22FA6E}"/>
              </a:ext>
            </a:extLst>
          </p:cNvPr>
          <p:cNvCxnSpPr>
            <a:cxnSpLocks/>
          </p:cNvCxnSpPr>
          <p:nvPr/>
        </p:nvCxnSpPr>
        <p:spPr>
          <a:xfrm>
            <a:off x="3883478" y="4858111"/>
            <a:ext cx="226180" cy="17387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ttore 2 25">
            <a:extLst>
              <a:ext uri="{FF2B5EF4-FFF2-40B4-BE49-F238E27FC236}">
                <a16:creationId xmlns:a16="http://schemas.microsoft.com/office/drawing/2014/main" id="{678A3413-6D63-420E-B7A7-7A90BCAA0B73}"/>
              </a:ext>
            </a:extLst>
          </p:cNvPr>
          <p:cNvCxnSpPr>
            <a:cxnSpLocks/>
          </p:cNvCxnSpPr>
          <p:nvPr/>
        </p:nvCxnSpPr>
        <p:spPr>
          <a:xfrm flipH="1">
            <a:off x="9446618" y="4933378"/>
            <a:ext cx="239855" cy="288456"/>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27" name="CasellaDiTesto 26">
            <a:extLst>
              <a:ext uri="{FF2B5EF4-FFF2-40B4-BE49-F238E27FC236}">
                <a16:creationId xmlns:a16="http://schemas.microsoft.com/office/drawing/2014/main" id="{2ED142A9-2FDC-4E0F-ABA4-B50C7E8A2777}"/>
              </a:ext>
            </a:extLst>
          </p:cNvPr>
          <p:cNvSpPr txBox="1"/>
          <p:nvPr/>
        </p:nvSpPr>
        <p:spPr>
          <a:xfrm>
            <a:off x="585903" y="3759919"/>
            <a:ext cx="1128597" cy="461665"/>
          </a:xfrm>
          <a:prstGeom prst="rect">
            <a:avLst/>
          </a:prstGeom>
          <a:noFill/>
          <a:ln>
            <a:solidFill>
              <a:srgbClr val="FFFFFF"/>
            </a:solidFill>
          </a:ln>
        </p:spPr>
        <p:txBody>
          <a:bodyPr wrap="square" rtlCol="0">
            <a:spAutoFit/>
          </a:bodyPr>
          <a:lstStyle/>
          <a:p>
            <a:pPr algn="ctr"/>
            <a:r>
              <a:rPr lang="it-IT" sz="1200" b="1" dirty="0">
                <a:solidFill>
                  <a:schemeClr val="bg1"/>
                </a:solidFill>
              </a:rPr>
              <a:t>Op. scavalco A12</a:t>
            </a:r>
          </a:p>
        </p:txBody>
      </p:sp>
      <p:cxnSp>
        <p:nvCxnSpPr>
          <p:cNvPr id="28" name="Connettore 2 27">
            <a:extLst>
              <a:ext uri="{FF2B5EF4-FFF2-40B4-BE49-F238E27FC236}">
                <a16:creationId xmlns:a16="http://schemas.microsoft.com/office/drawing/2014/main" id="{573002EC-06C9-476A-8B43-41B142566BD2}"/>
              </a:ext>
            </a:extLst>
          </p:cNvPr>
          <p:cNvCxnSpPr>
            <a:cxnSpLocks/>
          </p:cNvCxnSpPr>
          <p:nvPr/>
        </p:nvCxnSpPr>
        <p:spPr>
          <a:xfrm flipV="1">
            <a:off x="1714500" y="3574984"/>
            <a:ext cx="82045" cy="184935"/>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5688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e 11">
            <a:extLst>
              <a:ext uri="{FF2B5EF4-FFF2-40B4-BE49-F238E27FC236}">
                <a16:creationId xmlns:a16="http://schemas.microsoft.com/office/drawing/2014/main" id="{3EF1788F-1140-486E-AE19-0F54157B2B95}"/>
              </a:ext>
            </a:extLst>
          </p:cNvPr>
          <p:cNvSpPr/>
          <p:nvPr/>
        </p:nvSpPr>
        <p:spPr>
          <a:xfrm>
            <a:off x="452658" y="1023267"/>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5" name="Segnaposto testo 8">
            <a:extLst>
              <a:ext uri="{FF2B5EF4-FFF2-40B4-BE49-F238E27FC236}">
                <a16:creationId xmlns:a16="http://schemas.microsoft.com/office/drawing/2014/main" id="{159E0B95-1159-47B6-93D4-DD9555426108}"/>
              </a:ext>
            </a:extLst>
          </p:cNvPr>
          <p:cNvSpPr txBox="1">
            <a:spLocks/>
          </p:cNvSpPr>
          <p:nvPr/>
        </p:nvSpPr>
        <p:spPr>
          <a:xfrm>
            <a:off x="1022382" y="1093910"/>
            <a:ext cx="5073618" cy="424056"/>
          </a:xfrm>
          <a:prstGeom prst="rect">
            <a:avLst/>
          </a:prstGeom>
        </p:spPr>
        <p:txBody>
          <a:bodyPr vert="horz" lIns="91440" tIns="45720" rIns="91440" bIns="45720" rtlCol="0" anchor="b">
            <a:no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Opere principali</a:t>
            </a:r>
          </a:p>
        </p:txBody>
      </p:sp>
      <p:sp>
        <p:nvSpPr>
          <p:cNvPr id="20" name="Titolo 6">
            <a:extLst>
              <a:ext uri="{FF2B5EF4-FFF2-40B4-BE49-F238E27FC236}">
                <a16:creationId xmlns:a16="http://schemas.microsoft.com/office/drawing/2014/main" id="{F4B312A5-AB17-4CA0-905E-D7BAFAB4FFD6}"/>
              </a:ext>
            </a:extLst>
          </p:cNvPr>
          <p:cNvSpPr>
            <a:spLocks noGrp="1"/>
          </p:cNvSpPr>
          <p:nvPr>
            <p:ph type="title"/>
          </p:nvPr>
        </p:nvSpPr>
        <p:spPr>
          <a:xfrm>
            <a:off x="258416" y="368701"/>
            <a:ext cx="10515600" cy="418646"/>
          </a:xfrm>
        </p:spPr>
        <p:txBody>
          <a:bodyPr>
            <a:normAutofit fontScale="90000"/>
          </a:bodyPr>
          <a:lstStyle/>
          <a:p>
            <a:r>
              <a:rPr lang="it-IT" sz="3200" b="1" dirty="0"/>
              <a:t>05. Descrizione dell’intervento</a:t>
            </a:r>
          </a:p>
        </p:txBody>
      </p:sp>
      <p:sp>
        <p:nvSpPr>
          <p:cNvPr id="21" name="Rettangolo 20">
            <a:extLst>
              <a:ext uri="{FF2B5EF4-FFF2-40B4-BE49-F238E27FC236}">
                <a16:creationId xmlns:a16="http://schemas.microsoft.com/office/drawing/2014/main" id="{DDEBEF42-FB5F-40AA-A6A7-5860EC8CB590}"/>
              </a:ext>
            </a:extLst>
          </p:cNvPr>
          <p:cNvSpPr/>
          <p:nvPr/>
        </p:nvSpPr>
        <p:spPr>
          <a:xfrm>
            <a:off x="258416" y="825526"/>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Segnaposto contenuto 2">
            <a:extLst>
              <a:ext uri="{FF2B5EF4-FFF2-40B4-BE49-F238E27FC236}">
                <a16:creationId xmlns:a16="http://schemas.microsoft.com/office/drawing/2014/main" id="{4D5B52DA-EE93-4AD5-ABB6-6EFF1EDBEF5F}"/>
              </a:ext>
            </a:extLst>
          </p:cNvPr>
          <p:cNvSpPr txBox="1">
            <a:spLocks/>
          </p:cNvSpPr>
          <p:nvPr/>
        </p:nvSpPr>
        <p:spPr>
          <a:xfrm>
            <a:off x="493281" y="1670001"/>
            <a:ext cx="11266156" cy="416976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600"/>
              </a:spcBef>
              <a:spcAft>
                <a:spcPts val="800"/>
              </a:spcAft>
              <a:buFont typeface="+mj-lt"/>
              <a:buAutoNum type="arabicPeriod" startAt="3"/>
              <a:tabLst>
                <a:tab pos="457200" algn="l"/>
              </a:tabLst>
            </a:pPr>
            <a:r>
              <a:rPr lang="it-IT" sz="1200" b="1" dirty="0">
                <a:solidFill>
                  <a:srgbClr val="000000"/>
                </a:solidFill>
                <a:ea typeface="Arial" panose="020B0604020202020204" pitchFamily="34" charset="0"/>
              </a:rPr>
              <a:t>La rampa principale </a:t>
            </a:r>
            <a:r>
              <a:rPr lang="it-IT" sz="1200" b="1" dirty="0">
                <a:solidFill>
                  <a:srgbClr val="000000"/>
                </a:solidFill>
                <a:effectLst/>
                <a:ea typeface="Arial" panose="020B0604020202020204" pitchFamily="34" charset="0"/>
              </a:rPr>
              <a:t>è costituita dalla galleria Caravaggio</a:t>
            </a:r>
            <a:r>
              <a:rPr lang="it-IT" sz="1200" dirty="0">
                <a:solidFill>
                  <a:srgbClr val="000000"/>
                </a:solidFill>
                <a:effectLst/>
                <a:ea typeface="Arial" panose="020B0604020202020204" pitchFamily="34" charset="0"/>
              </a:rPr>
              <a:t>, di lunghezza pari a circa 2,1 km, </a:t>
            </a:r>
            <a:r>
              <a:rPr lang="it-IT" sz="1200" b="1" dirty="0">
                <a:solidFill>
                  <a:srgbClr val="000000"/>
                </a:solidFill>
                <a:effectLst/>
                <a:ea typeface="Arial" panose="020B0604020202020204" pitchFamily="34" charset="0"/>
              </a:rPr>
              <a:t>un breve tratto all’aperto in rilevato</a:t>
            </a:r>
            <a:r>
              <a:rPr lang="it-IT" sz="1200" dirty="0">
                <a:solidFill>
                  <a:srgbClr val="000000"/>
                </a:solidFill>
                <a:effectLst/>
                <a:ea typeface="Arial" panose="020B0604020202020204" pitchFamily="34" charset="0"/>
              </a:rPr>
              <a:t>, di lunghezza pari a circa 115 m </a:t>
            </a:r>
            <a:r>
              <a:rPr lang="it-IT" sz="1200" b="1" dirty="0">
                <a:solidFill>
                  <a:srgbClr val="000000"/>
                </a:solidFill>
                <a:effectLst/>
                <a:ea typeface="Arial" panose="020B0604020202020204" pitchFamily="34" charset="0"/>
              </a:rPr>
              <a:t>e dalla galleria Fontanabuona</a:t>
            </a:r>
            <a:r>
              <a:rPr lang="it-IT" sz="1200" dirty="0">
                <a:solidFill>
                  <a:srgbClr val="000000"/>
                </a:solidFill>
                <a:effectLst/>
                <a:ea typeface="Arial" panose="020B0604020202020204" pitchFamily="34" charset="0"/>
              </a:rPr>
              <a:t>, di lunghezza pari a circa 2,6 km, al termine della quale è prevista la realizzazione della stazione per l’esazione del pedaggio. </a:t>
            </a:r>
            <a:r>
              <a:rPr lang="it-IT" sz="1200" b="1" dirty="0">
                <a:solidFill>
                  <a:srgbClr val="000000"/>
                </a:solidFill>
              </a:rPr>
              <a:t>Le gallerie sono costituite da una canna unica con due rampe monodirezionali separate da un setto</a:t>
            </a:r>
            <a:r>
              <a:rPr lang="it-IT" sz="1200" dirty="0">
                <a:solidFill>
                  <a:srgbClr val="000000"/>
                </a:solidFill>
              </a:rPr>
              <a:t>, caratterizzate da </a:t>
            </a:r>
            <a:r>
              <a:rPr lang="it-IT" sz="1200" b="1" dirty="0">
                <a:solidFill>
                  <a:srgbClr val="000000"/>
                </a:solidFill>
              </a:rPr>
              <a:t>una corsia per senso di marcia</a:t>
            </a:r>
            <a:r>
              <a:rPr lang="it-IT" sz="1200" dirty="0">
                <a:solidFill>
                  <a:srgbClr val="000000"/>
                </a:solidFill>
              </a:rPr>
              <a:t>, di larghezza 4 m, e due banchine laterali, di larghezza 1 m.</a:t>
            </a:r>
            <a:endParaRPr lang="it-IT" sz="1200" dirty="0">
              <a:solidFill>
                <a:schemeClr val="accent6">
                  <a:lumMod val="10000"/>
                </a:schemeClr>
              </a:solidFill>
              <a:effectLst/>
              <a:ea typeface="Calibri" panose="020F0502020204030204" pitchFamily="34" charset="0"/>
              <a:cs typeface="Times New Roman" panose="02020603050405020304" pitchFamily="18" charset="0"/>
            </a:endParaRPr>
          </a:p>
        </p:txBody>
      </p:sp>
      <p:pic>
        <p:nvPicPr>
          <p:cNvPr id="22" name="Immagine 8" descr="APG 0010 copia 2.jpg">
            <a:extLst>
              <a:ext uri="{FF2B5EF4-FFF2-40B4-BE49-F238E27FC236}">
                <a16:creationId xmlns:a16="http://schemas.microsoft.com/office/drawing/2014/main" id="{A6A5298D-E34B-4957-B54B-3C313510AA7D}"/>
              </a:ext>
            </a:extLst>
          </p:cNvPr>
          <p:cNvPicPr>
            <a:picLocks noChangeAspect="1"/>
          </p:cNvPicPr>
          <p:nvPr/>
        </p:nvPicPr>
        <p:blipFill rotWithShape="1">
          <a:blip r:embed="rId3">
            <a:extLst>
              <a:ext uri="{28A0092B-C50C-407E-A947-70E740481C1C}">
                <a14:useLocalDpi xmlns:a14="http://schemas.microsoft.com/office/drawing/2010/main" val="0"/>
              </a:ext>
            </a:extLst>
          </a:blip>
          <a:srcRect l="9284" t="4353" r="2814" b="15275"/>
          <a:stretch/>
        </p:blipFill>
        <p:spPr bwMode="auto">
          <a:xfrm>
            <a:off x="723658" y="3010178"/>
            <a:ext cx="6813294" cy="3225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6">
            <a:extLst>
              <a:ext uri="{FF2B5EF4-FFF2-40B4-BE49-F238E27FC236}">
                <a16:creationId xmlns:a16="http://schemas.microsoft.com/office/drawing/2014/main" id="{FBCFD182-49A9-45A6-B558-5B0E7D3173B0}"/>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493280" y="938321"/>
            <a:ext cx="463296" cy="463296"/>
          </a:xfrm>
          <a:prstGeom prst="rect">
            <a:avLst/>
          </a:prstGeom>
          <a:noFill/>
          <a:extLst>
            <a:ext uri="{909E8E84-426E-40DD-AFC4-6F175D3DCCD1}">
              <a14:hiddenFill xmlns:a14="http://schemas.microsoft.com/office/drawing/2010/main">
                <a:solidFill>
                  <a:srgbClr val="FFFFFF"/>
                </a:solidFill>
              </a14:hiddenFill>
            </a:ext>
          </a:extLst>
        </p:spPr>
      </p:pic>
      <p:pic>
        <p:nvPicPr>
          <p:cNvPr id="10" name="Immagine 9">
            <a:extLst>
              <a:ext uri="{FF2B5EF4-FFF2-40B4-BE49-F238E27FC236}">
                <a16:creationId xmlns:a16="http://schemas.microsoft.com/office/drawing/2014/main" id="{F120B5B8-4F61-4BC7-AA9A-3C310E920C6D}"/>
              </a:ext>
            </a:extLst>
          </p:cNvPr>
          <p:cNvPicPr>
            <a:picLocks noChangeAspect="1"/>
          </p:cNvPicPr>
          <p:nvPr/>
        </p:nvPicPr>
        <p:blipFill rotWithShape="1">
          <a:blip r:embed="rId5"/>
          <a:srcRect b="2361"/>
          <a:stretch/>
        </p:blipFill>
        <p:spPr>
          <a:xfrm>
            <a:off x="7687089" y="2863780"/>
            <a:ext cx="4011630" cy="3487365"/>
          </a:xfrm>
          <a:prstGeom prst="rect">
            <a:avLst/>
          </a:prstGeom>
        </p:spPr>
      </p:pic>
      <p:graphicFrame>
        <p:nvGraphicFramePr>
          <p:cNvPr id="11" name="Tabella 30">
            <a:extLst>
              <a:ext uri="{FF2B5EF4-FFF2-40B4-BE49-F238E27FC236}">
                <a16:creationId xmlns:a16="http://schemas.microsoft.com/office/drawing/2014/main" id="{7590EA23-321A-4775-B324-B705538E87EF}"/>
              </a:ext>
            </a:extLst>
          </p:cNvPr>
          <p:cNvGraphicFramePr>
            <a:graphicFrameLocks noGrp="1"/>
          </p:cNvGraphicFramePr>
          <p:nvPr>
            <p:extLst>
              <p:ext uri="{D42A27DB-BD31-4B8C-83A1-F6EECF244321}">
                <p14:modId xmlns:p14="http://schemas.microsoft.com/office/powerpoint/2010/main" val="3273602895"/>
              </p:ext>
            </p:extLst>
          </p:nvPr>
        </p:nvGraphicFramePr>
        <p:xfrm>
          <a:off x="3597442" y="3010178"/>
          <a:ext cx="3920330" cy="799822"/>
        </p:xfrm>
        <a:graphic>
          <a:graphicData uri="http://schemas.openxmlformats.org/drawingml/2006/table">
            <a:tbl>
              <a:tblPr firstRow="1" bandRow="1">
                <a:tableStyleId>{5C22544A-7EE6-4342-B048-85BDC9FD1C3A}</a:tableStyleId>
              </a:tblPr>
              <a:tblGrid>
                <a:gridCol w="902369">
                  <a:extLst>
                    <a:ext uri="{9D8B030D-6E8A-4147-A177-3AD203B41FA5}">
                      <a16:colId xmlns:a16="http://schemas.microsoft.com/office/drawing/2014/main" val="2017343340"/>
                    </a:ext>
                  </a:extLst>
                </a:gridCol>
                <a:gridCol w="601578">
                  <a:extLst>
                    <a:ext uri="{9D8B030D-6E8A-4147-A177-3AD203B41FA5}">
                      <a16:colId xmlns:a16="http://schemas.microsoft.com/office/drawing/2014/main" val="2737948790"/>
                    </a:ext>
                  </a:extLst>
                </a:gridCol>
                <a:gridCol w="861282">
                  <a:extLst>
                    <a:ext uri="{9D8B030D-6E8A-4147-A177-3AD203B41FA5}">
                      <a16:colId xmlns:a16="http://schemas.microsoft.com/office/drawing/2014/main" val="2061547035"/>
                    </a:ext>
                  </a:extLst>
                </a:gridCol>
                <a:gridCol w="824991">
                  <a:extLst>
                    <a:ext uri="{9D8B030D-6E8A-4147-A177-3AD203B41FA5}">
                      <a16:colId xmlns:a16="http://schemas.microsoft.com/office/drawing/2014/main" val="1559674667"/>
                    </a:ext>
                  </a:extLst>
                </a:gridCol>
                <a:gridCol w="730110">
                  <a:extLst>
                    <a:ext uri="{9D8B030D-6E8A-4147-A177-3AD203B41FA5}">
                      <a16:colId xmlns:a16="http://schemas.microsoft.com/office/drawing/2014/main" val="3019012151"/>
                    </a:ext>
                  </a:extLst>
                </a:gridCol>
              </a:tblGrid>
              <a:tr h="351922">
                <a:tc>
                  <a:txBody>
                    <a:bodyPr/>
                    <a:lstStyle/>
                    <a:p>
                      <a:pPr algn="ctr"/>
                      <a:r>
                        <a:rPr lang="it-IT" sz="800" dirty="0">
                          <a:latin typeface="+mn-lt"/>
                        </a:rPr>
                        <a:t>Galleria</a:t>
                      </a:r>
                    </a:p>
                  </a:txBody>
                  <a:tcPr anchor="ctr"/>
                </a:tc>
                <a:tc>
                  <a:txBody>
                    <a:bodyPr/>
                    <a:lstStyle/>
                    <a:p>
                      <a:pPr algn="ctr"/>
                      <a:r>
                        <a:rPr lang="it-IT" sz="800" dirty="0">
                          <a:latin typeface="+mn-lt"/>
                        </a:rPr>
                        <a:t>L</a:t>
                      </a:r>
                    </a:p>
                  </a:txBody>
                  <a:tcPr anchor="ctr"/>
                </a:tc>
                <a:tc>
                  <a:txBody>
                    <a:bodyPr/>
                    <a:lstStyle/>
                    <a:p>
                      <a:pPr algn="ctr"/>
                      <a:r>
                        <a:rPr lang="it-IT" sz="800" dirty="0" err="1">
                          <a:latin typeface="+mn-lt"/>
                        </a:rPr>
                        <a:t>Sez</a:t>
                      </a:r>
                      <a:r>
                        <a:rPr lang="it-IT" sz="800" dirty="0">
                          <a:latin typeface="+mn-lt"/>
                        </a:rPr>
                        <a:t> di scavo </a:t>
                      </a:r>
                    </a:p>
                    <a:p>
                      <a:pPr algn="ctr"/>
                      <a:r>
                        <a:rPr lang="it-IT" sz="800" dirty="0">
                          <a:latin typeface="+mn-lt"/>
                        </a:rPr>
                        <a:t>minima</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800" dirty="0">
                          <a:latin typeface="+mn-lt"/>
                        </a:rPr>
                        <a:t>Sez. di scavo</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800" dirty="0">
                          <a:latin typeface="+mn-lt"/>
                        </a:rPr>
                        <a:t>massima</a:t>
                      </a:r>
                    </a:p>
                  </a:txBody>
                  <a:tcPr anchor="ctr"/>
                </a:tc>
                <a:tc>
                  <a:txBody>
                    <a:bodyPr/>
                    <a:lstStyle/>
                    <a:p>
                      <a:pPr algn="ctr"/>
                      <a:r>
                        <a:rPr lang="it-IT" sz="800" dirty="0">
                          <a:latin typeface="+mn-lt"/>
                        </a:rPr>
                        <a:t>N° by pass</a:t>
                      </a:r>
                    </a:p>
                  </a:txBody>
                  <a:tcPr anchor="ctr"/>
                </a:tc>
                <a:extLst>
                  <a:ext uri="{0D108BD9-81ED-4DB2-BD59-A6C34878D82A}">
                    <a16:rowId xmlns:a16="http://schemas.microsoft.com/office/drawing/2014/main" val="2255424611"/>
                  </a:ext>
                </a:extLst>
              </a:tr>
              <a:tr h="223950">
                <a:tc>
                  <a:txBody>
                    <a:bodyPr/>
                    <a:lstStyle/>
                    <a:p>
                      <a:pPr algn="l"/>
                      <a:r>
                        <a:rPr lang="it-IT" sz="800" dirty="0">
                          <a:latin typeface="+mn-lt"/>
                        </a:rPr>
                        <a:t>Caravaggio</a:t>
                      </a:r>
                    </a:p>
                  </a:txBody>
                  <a:tcPr anchor="ctr"/>
                </a:tc>
                <a:tc>
                  <a:txBody>
                    <a:bodyPr/>
                    <a:lstStyle/>
                    <a:p>
                      <a:pPr algn="ctr"/>
                      <a:r>
                        <a:rPr lang="it-IT" sz="800" dirty="0"/>
                        <a:t>~ 2,1 km</a:t>
                      </a:r>
                      <a:endParaRPr lang="it-IT" sz="800" dirty="0">
                        <a:latin typeface="+mn-lt"/>
                      </a:endParaRPr>
                    </a:p>
                  </a:txBody>
                  <a:tcPr anchor="ctr"/>
                </a:tc>
                <a:tc>
                  <a:txBody>
                    <a:bodyPr/>
                    <a:lstStyle/>
                    <a:p>
                      <a:pPr algn="ctr"/>
                      <a:r>
                        <a:rPr lang="it-IT" sz="800" dirty="0">
                          <a:latin typeface="+mn-lt"/>
                        </a:rPr>
                        <a:t>140 mq</a:t>
                      </a:r>
                    </a:p>
                  </a:txBody>
                  <a:tcPr anchor="ctr"/>
                </a:tc>
                <a:tc>
                  <a:txBody>
                    <a:bodyPr/>
                    <a:lstStyle/>
                    <a:p>
                      <a:pPr algn="ctr"/>
                      <a:r>
                        <a:rPr lang="it-IT" sz="800" dirty="0">
                          <a:latin typeface="+mn-lt"/>
                        </a:rPr>
                        <a:t>165 mq</a:t>
                      </a:r>
                    </a:p>
                  </a:txBody>
                  <a:tcPr anchor="ctr"/>
                </a:tc>
                <a:tc>
                  <a:txBody>
                    <a:bodyPr/>
                    <a:lstStyle/>
                    <a:p>
                      <a:pPr algn="ctr"/>
                      <a:r>
                        <a:rPr lang="it-IT" sz="800" dirty="0">
                          <a:latin typeface="+mn-lt"/>
                        </a:rPr>
                        <a:t>4</a:t>
                      </a:r>
                    </a:p>
                  </a:txBody>
                  <a:tcPr anchor="ctr"/>
                </a:tc>
                <a:extLst>
                  <a:ext uri="{0D108BD9-81ED-4DB2-BD59-A6C34878D82A}">
                    <a16:rowId xmlns:a16="http://schemas.microsoft.com/office/drawing/2014/main" val="3314439511"/>
                  </a:ext>
                </a:extLst>
              </a:tr>
              <a:tr h="223950">
                <a:tc>
                  <a:txBody>
                    <a:bodyPr/>
                    <a:lstStyle/>
                    <a:p>
                      <a:pPr algn="l"/>
                      <a:r>
                        <a:rPr lang="it-IT" sz="800" dirty="0">
                          <a:latin typeface="+mn-lt"/>
                        </a:rPr>
                        <a:t>Fontanabuona</a:t>
                      </a:r>
                    </a:p>
                  </a:txBody>
                  <a:tcPr anchor="ctr"/>
                </a:tc>
                <a:tc>
                  <a:txBody>
                    <a:bodyPr/>
                    <a:lstStyle/>
                    <a:p>
                      <a:pPr algn="ctr"/>
                      <a:r>
                        <a:rPr lang="it-IT" sz="800" dirty="0"/>
                        <a:t>~ </a:t>
                      </a:r>
                      <a:r>
                        <a:rPr lang="it-IT" sz="800" dirty="0">
                          <a:latin typeface="+mn-lt"/>
                        </a:rPr>
                        <a:t>2,6 km</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800" dirty="0">
                          <a:latin typeface="+mn-lt"/>
                        </a:rPr>
                        <a:t>140 mq</a:t>
                      </a:r>
                    </a:p>
                  </a:txBody>
                  <a:tcPr anchor="ctr"/>
                </a:tc>
                <a:tc>
                  <a:txBody>
                    <a:bodyPr/>
                    <a:lstStyle/>
                    <a:p>
                      <a:pPr algn="ctr"/>
                      <a:r>
                        <a:rPr lang="it-IT" sz="800" dirty="0">
                          <a:latin typeface="+mn-lt"/>
                        </a:rPr>
                        <a:t>165 mq</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800" dirty="0">
                          <a:latin typeface="+mn-lt"/>
                        </a:rPr>
                        <a:t>5</a:t>
                      </a:r>
                    </a:p>
                  </a:txBody>
                  <a:tcPr anchor="ctr"/>
                </a:tc>
                <a:extLst>
                  <a:ext uri="{0D108BD9-81ED-4DB2-BD59-A6C34878D82A}">
                    <a16:rowId xmlns:a16="http://schemas.microsoft.com/office/drawing/2014/main" val="3107351110"/>
                  </a:ext>
                </a:extLst>
              </a:tr>
            </a:tbl>
          </a:graphicData>
        </a:graphic>
      </p:graphicFrame>
    </p:spTree>
    <p:extLst>
      <p:ext uri="{BB962C8B-B14F-4D97-AF65-F5344CB8AC3E}">
        <p14:creationId xmlns:p14="http://schemas.microsoft.com/office/powerpoint/2010/main" val="19840751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8">
            <a:extLst>
              <a:ext uri="{FF2B5EF4-FFF2-40B4-BE49-F238E27FC236}">
                <a16:creationId xmlns:a16="http://schemas.microsoft.com/office/drawing/2014/main" id="{159E0B95-1159-47B6-93D4-DD9555426108}"/>
              </a:ext>
            </a:extLst>
          </p:cNvPr>
          <p:cNvSpPr txBox="1">
            <a:spLocks/>
          </p:cNvSpPr>
          <p:nvPr/>
        </p:nvSpPr>
        <p:spPr>
          <a:xfrm>
            <a:off x="1022382" y="1093910"/>
            <a:ext cx="5731986" cy="424056"/>
          </a:xfrm>
          <a:prstGeom prst="rect">
            <a:avLst/>
          </a:prstGeom>
        </p:spPr>
        <p:txBody>
          <a:bodyPr vert="horz" lIns="91440" tIns="45720" rIns="91440" bIns="45720" rtlCol="0" anchor="b">
            <a:no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Opere principali</a:t>
            </a:r>
          </a:p>
        </p:txBody>
      </p:sp>
      <p:sp>
        <p:nvSpPr>
          <p:cNvPr id="20" name="Titolo 6">
            <a:extLst>
              <a:ext uri="{FF2B5EF4-FFF2-40B4-BE49-F238E27FC236}">
                <a16:creationId xmlns:a16="http://schemas.microsoft.com/office/drawing/2014/main" id="{F4B312A5-AB17-4CA0-905E-D7BAFAB4FFD6}"/>
              </a:ext>
            </a:extLst>
          </p:cNvPr>
          <p:cNvSpPr>
            <a:spLocks noGrp="1"/>
          </p:cNvSpPr>
          <p:nvPr>
            <p:ph type="title"/>
          </p:nvPr>
        </p:nvSpPr>
        <p:spPr>
          <a:xfrm>
            <a:off x="264349" y="363795"/>
            <a:ext cx="10515600" cy="418646"/>
          </a:xfrm>
        </p:spPr>
        <p:txBody>
          <a:bodyPr>
            <a:normAutofit fontScale="90000"/>
          </a:bodyPr>
          <a:lstStyle/>
          <a:p>
            <a:r>
              <a:rPr lang="it-IT" sz="3200" b="1" dirty="0"/>
              <a:t>05. Descrizione dell’intervento</a:t>
            </a:r>
          </a:p>
        </p:txBody>
      </p:sp>
      <p:sp>
        <p:nvSpPr>
          <p:cNvPr id="21" name="Rettangolo 20">
            <a:extLst>
              <a:ext uri="{FF2B5EF4-FFF2-40B4-BE49-F238E27FC236}">
                <a16:creationId xmlns:a16="http://schemas.microsoft.com/office/drawing/2014/main" id="{DDEBEF42-FB5F-40AA-A6A7-5860EC8CB590}"/>
              </a:ext>
            </a:extLst>
          </p:cNvPr>
          <p:cNvSpPr/>
          <p:nvPr/>
        </p:nvSpPr>
        <p:spPr>
          <a:xfrm>
            <a:off x="264349" y="851028"/>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Ovale 18">
            <a:extLst>
              <a:ext uri="{FF2B5EF4-FFF2-40B4-BE49-F238E27FC236}">
                <a16:creationId xmlns:a16="http://schemas.microsoft.com/office/drawing/2014/main" id="{6BB602DF-0125-4A38-A55A-2ADA1E2894DB}"/>
              </a:ext>
            </a:extLst>
          </p:cNvPr>
          <p:cNvSpPr/>
          <p:nvPr/>
        </p:nvSpPr>
        <p:spPr>
          <a:xfrm>
            <a:off x="452931" y="1031322"/>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1030" name="Picture 6">
            <a:extLst>
              <a:ext uri="{FF2B5EF4-FFF2-40B4-BE49-F238E27FC236}">
                <a16:creationId xmlns:a16="http://schemas.microsoft.com/office/drawing/2014/main" id="{F1302650-6056-4774-85F8-B07F5B089F8E}"/>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493280" y="938321"/>
            <a:ext cx="463296" cy="463296"/>
          </a:xfrm>
          <a:prstGeom prst="rect">
            <a:avLst/>
          </a:prstGeom>
          <a:noFill/>
          <a:extLst>
            <a:ext uri="{909E8E84-426E-40DD-AFC4-6F175D3DCCD1}">
              <a14:hiddenFill xmlns:a14="http://schemas.microsoft.com/office/drawing/2010/main">
                <a:solidFill>
                  <a:srgbClr val="FFFFFF"/>
                </a:solidFill>
              </a14:hiddenFill>
            </a:ext>
          </a:extLst>
        </p:spPr>
      </p:pic>
      <p:pic>
        <p:nvPicPr>
          <p:cNvPr id="14" name="Immagine 13">
            <a:extLst>
              <a:ext uri="{FF2B5EF4-FFF2-40B4-BE49-F238E27FC236}">
                <a16:creationId xmlns:a16="http://schemas.microsoft.com/office/drawing/2014/main" id="{0D7F65A9-BDBA-4EE1-943D-F3C6403E3233}"/>
              </a:ext>
            </a:extLst>
          </p:cNvPr>
          <p:cNvPicPr>
            <a:picLocks noChangeAspect="1"/>
          </p:cNvPicPr>
          <p:nvPr/>
        </p:nvPicPr>
        <p:blipFill>
          <a:blip r:embed="rId4"/>
          <a:stretch>
            <a:fillRect/>
          </a:stretch>
        </p:blipFill>
        <p:spPr>
          <a:xfrm>
            <a:off x="735010" y="2687285"/>
            <a:ext cx="5054842" cy="3678655"/>
          </a:xfrm>
          <a:prstGeom prst="rect">
            <a:avLst/>
          </a:prstGeom>
        </p:spPr>
      </p:pic>
      <p:pic>
        <p:nvPicPr>
          <p:cNvPr id="16" name="Immagine 15">
            <a:extLst>
              <a:ext uri="{FF2B5EF4-FFF2-40B4-BE49-F238E27FC236}">
                <a16:creationId xmlns:a16="http://schemas.microsoft.com/office/drawing/2014/main" id="{6C415BE9-1BF4-49D8-8EF1-B1C9F110F8D8}"/>
              </a:ext>
            </a:extLst>
          </p:cNvPr>
          <p:cNvPicPr>
            <a:picLocks noChangeAspect="1"/>
          </p:cNvPicPr>
          <p:nvPr/>
        </p:nvPicPr>
        <p:blipFill>
          <a:blip r:embed="rId5"/>
          <a:stretch>
            <a:fillRect/>
          </a:stretch>
        </p:blipFill>
        <p:spPr>
          <a:xfrm>
            <a:off x="6380623" y="2620739"/>
            <a:ext cx="5001251" cy="3805489"/>
          </a:xfrm>
          <a:prstGeom prst="rect">
            <a:avLst/>
          </a:prstGeom>
        </p:spPr>
      </p:pic>
      <p:sp>
        <p:nvSpPr>
          <p:cNvPr id="12" name="CasellaDiTesto 11">
            <a:extLst>
              <a:ext uri="{FF2B5EF4-FFF2-40B4-BE49-F238E27FC236}">
                <a16:creationId xmlns:a16="http://schemas.microsoft.com/office/drawing/2014/main" id="{D0D71B78-1358-4A37-A98C-1063E3D5EE03}"/>
              </a:ext>
            </a:extLst>
          </p:cNvPr>
          <p:cNvSpPr txBox="1"/>
          <p:nvPr/>
        </p:nvSpPr>
        <p:spPr>
          <a:xfrm>
            <a:off x="539670" y="1715896"/>
            <a:ext cx="11206854" cy="891334"/>
          </a:xfrm>
          <a:prstGeom prst="rect">
            <a:avLst/>
          </a:prstGeom>
          <a:noFill/>
        </p:spPr>
        <p:txBody>
          <a:bodyPr wrap="square">
            <a:spAutoFit/>
          </a:bodyPr>
          <a:lstStyle/>
          <a:p>
            <a:pPr algn="just">
              <a:lnSpc>
                <a:spcPct val="150000"/>
              </a:lnSpc>
            </a:pPr>
            <a:r>
              <a:rPr lang="it-IT" sz="1200" b="1" dirty="0">
                <a:solidFill>
                  <a:srgbClr val="000000"/>
                </a:solidFill>
              </a:rPr>
              <a:t>Lo scavo delle due gallerie </a:t>
            </a:r>
            <a:r>
              <a:rPr lang="it-IT" sz="1200" dirty="0">
                <a:solidFill>
                  <a:srgbClr val="000000"/>
                </a:solidFill>
              </a:rPr>
              <a:t>avverrà generalmente a piena sezione tramite l’utilizzo di esplosivo (eccetto la zona all’interno della Formazione di Monte Lavagnola). Il rivestimento definitivo in calcestruzzo è armato in funzione delle esigenze statiche, presenta sezione policentrica e spessore variabile. In funzione delle proprietà geomeccaniche delle formazioni geologiche attraversate, le sezioni sono contraddistinte dalla presenza o meno di arco rovescio. </a:t>
            </a:r>
            <a:endParaRPr lang="it-IT" sz="1200" dirty="0"/>
          </a:p>
        </p:txBody>
      </p:sp>
    </p:spTree>
    <p:extLst>
      <p:ext uri="{BB962C8B-B14F-4D97-AF65-F5344CB8AC3E}">
        <p14:creationId xmlns:p14="http://schemas.microsoft.com/office/powerpoint/2010/main" val="557122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Segnaposto immagine 8">
            <a:extLst>
              <a:ext uri="{FF2B5EF4-FFF2-40B4-BE49-F238E27FC236}">
                <a16:creationId xmlns:a16="http://schemas.microsoft.com/office/drawing/2014/main" id="{3D26CD34-26F4-4320-8EA9-8F2854B39107}"/>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20750" r="20750"/>
          <a:stretch/>
        </p:blipFill>
        <p:spPr>
          <a:xfrm>
            <a:off x="219762" y="1"/>
            <a:ext cx="6489046" cy="6857999"/>
          </a:xfrm>
        </p:spPr>
      </p:pic>
      <p:graphicFrame>
        <p:nvGraphicFramePr>
          <p:cNvPr id="10" name="Diagramma 9">
            <a:extLst>
              <a:ext uri="{FF2B5EF4-FFF2-40B4-BE49-F238E27FC236}">
                <a16:creationId xmlns:a16="http://schemas.microsoft.com/office/drawing/2014/main" id="{B563F630-9380-41B2-9E9F-EB3541219165}"/>
              </a:ext>
            </a:extLst>
          </p:cNvPr>
          <p:cNvGraphicFramePr/>
          <p:nvPr>
            <p:extLst>
              <p:ext uri="{D42A27DB-BD31-4B8C-83A1-F6EECF244321}">
                <p14:modId xmlns:p14="http://schemas.microsoft.com/office/powerpoint/2010/main" val="1978666661"/>
              </p:ext>
            </p:extLst>
          </p:nvPr>
        </p:nvGraphicFramePr>
        <p:xfrm>
          <a:off x="6085112" y="1875059"/>
          <a:ext cx="4860914" cy="45801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itolo">
            <a:extLst>
              <a:ext uri="{FF2B5EF4-FFF2-40B4-BE49-F238E27FC236}">
                <a16:creationId xmlns:a16="http://schemas.microsoft.com/office/drawing/2014/main" id="{304F7E57-1B51-42AF-A981-F97799E0790B}"/>
              </a:ext>
            </a:extLst>
          </p:cNvPr>
          <p:cNvSpPr txBox="1">
            <a:spLocks/>
          </p:cNvSpPr>
          <p:nvPr/>
        </p:nvSpPr>
        <p:spPr>
          <a:xfrm>
            <a:off x="6096000" y="849311"/>
            <a:ext cx="4860914" cy="492443"/>
          </a:xfrm>
          <a:prstGeom prst="rect">
            <a:avLst/>
          </a:prstGeom>
          <a:noFill/>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rtlCol="0">
            <a:spAutoFit/>
          </a:bodyPr>
          <a:lstStyle>
            <a:defPPr>
              <a:defRPr lang="ko-KR"/>
            </a:defPPr>
            <a:lvl1pPr>
              <a:defRPr sz="4000" b="1">
                <a:solidFill>
                  <a:srgbClr val="0065A4"/>
                </a:solidFill>
                <a:latin typeface="Univers 45 Light" pitchFamily="34" charset="0"/>
                <a:cs typeface="Gotham Medium" pitchFamily="50" charset="0"/>
              </a:defRPr>
            </a:lvl1pPr>
          </a:lstStyle>
          <a:p>
            <a:pPr algn="ctr"/>
            <a:r>
              <a:rPr lang="it-IT" sz="2600" dirty="0">
                <a:latin typeface="+mj-lt"/>
              </a:rPr>
              <a:t>AGENDA CONTENUTI</a:t>
            </a:r>
          </a:p>
        </p:txBody>
      </p:sp>
    </p:spTree>
    <p:extLst>
      <p:ext uri="{BB962C8B-B14F-4D97-AF65-F5344CB8AC3E}">
        <p14:creationId xmlns:p14="http://schemas.microsoft.com/office/powerpoint/2010/main" val="20910532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8">
            <a:extLst>
              <a:ext uri="{FF2B5EF4-FFF2-40B4-BE49-F238E27FC236}">
                <a16:creationId xmlns:a16="http://schemas.microsoft.com/office/drawing/2014/main" id="{159E0B95-1159-47B6-93D4-DD9555426108}"/>
              </a:ext>
            </a:extLst>
          </p:cNvPr>
          <p:cNvSpPr txBox="1">
            <a:spLocks/>
          </p:cNvSpPr>
          <p:nvPr/>
        </p:nvSpPr>
        <p:spPr>
          <a:xfrm>
            <a:off x="1022382" y="1093910"/>
            <a:ext cx="5731986" cy="424056"/>
          </a:xfrm>
          <a:prstGeom prst="rect">
            <a:avLst/>
          </a:prstGeom>
        </p:spPr>
        <p:txBody>
          <a:bodyPr vert="horz" lIns="91440" tIns="45720" rIns="91440" bIns="45720" rtlCol="0" anchor="b">
            <a:no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Opere principali</a:t>
            </a:r>
          </a:p>
        </p:txBody>
      </p:sp>
      <p:sp>
        <p:nvSpPr>
          <p:cNvPr id="20" name="Titolo 6">
            <a:extLst>
              <a:ext uri="{FF2B5EF4-FFF2-40B4-BE49-F238E27FC236}">
                <a16:creationId xmlns:a16="http://schemas.microsoft.com/office/drawing/2014/main" id="{F4B312A5-AB17-4CA0-905E-D7BAFAB4FFD6}"/>
              </a:ext>
            </a:extLst>
          </p:cNvPr>
          <p:cNvSpPr>
            <a:spLocks noGrp="1"/>
          </p:cNvSpPr>
          <p:nvPr>
            <p:ph type="title"/>
          </p:nvPr>
        </p:nvSpPr>
        <p:spPr>
          <a:xfrm>
            <a:off x="264349" y="363795"/>
            <a:ext cx="10515600" cy="418646"/>
          </a:xfrm>
        </p:spPr>
        <p:txBody>
          <a:bodyPr>
            <a:normAutofit fontScale="90000"/>
          </a:bodyPr>
          <a:lstStyle/>
          <a:p>
            <a:r>
              <a:rPr lang="it-IT" sz="3200" b="1" dirty="0"/>
              <a:t>05. Descrizione dell’intervento</a:t>
            </a:r>
          </a:p>
        </p:txBody>
      </p:sp>
      <p:sp>
        <p:nvSpPr>
          <p:cNvPr id="21" name="Rettangolo 20">
            <a:extLst>
              <a:ext uri="{FF2B5EF4-FFF2-40B4-BE49-F238E27FC236}">
                <a16:creationId xmlns:a16="http://schemas.microsoft.com/office/drawing/2014/main" id="{DDEBEF42-FB5F-40AA-A6A7-5860EC8CB590}"/>
              </a:ext>
            </a:extLst>
          </p:cNvPr>
          <p:cNvSpPr/>
          <p:nvPr/>
        </p:nvSpPr>
        <p:spPr>
          <a:xfrm>
            <a:off x="264349" y="851028"/>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Ovale 18">
            <a:extLst>
              <a:ext uri="{FF2B5EF4-FFF2-40B4-BE49-F238E27FC236}">
                <a16:creationId xmlns:a16="http://schemas.microsoft.com/office/drawing/2014/main" id="{6BB602DF-0125-4A38-A55A-2ADA1E2894DB}"/>
              </a:ext>
            </a:extLst>
          </p:cNvPr>
          <p:cNvSpPr/>
          <p:nvPr/>
        </p:nvSpPr>
        <p:spPr>
          <a:xfrm>
            <a:off x="452931" y="1031322"/>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13" name="Immagine 10" descr="TUN 0015 sez 2.jpg">
            <a:extLst>
              <a:ext uri="{FF2B5EF4-FFF2-40B4-BE49-F238E27FC236}">
                <a16:creationId xmlns:a16="http://schemas.microsoft.com/office/drawing/2014/main" id="{58DD4637-F4BC-4570-AF5F-CD6C6C17D1F2}"/>
              </a:ext>
            </a:extLst>
          </p:cNvPr>
          <p:cNvPicPr>
            <a:picLocks noChangeAspect="1"/>
          </p:cNvPicPr>
          <p:nvPr/>
        </p:nvPicPr>
        <p:blipFill rotWithShape="1">
          <a:blip r:embed="rId3">
            <a:extLst>
              <a:ext uri="{28A0092B-C50C-407E-A947-70E740481C1C}">
                <a14:useLocalDpi xmlns:a14="http://schemas.microsoft.com/office/drawing/2010/main" val="0"/>
              </a:ext>
            </a:extLst>
          </a:blip>
          <a:srcRect l="7133" r="8568" b="11021"/>
          <a:stretch/>
        </p:blipFill>
        <p:spPr bwMode="auto">
          <a:xfrm>
            <a:off x="627629" y="2861623"/>
            <a:ext cx="8458215" cy="3446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6">
            <a:extLst>
              <a:ext uri="{FF2B5EF4-FFF2-40B4-BE49-F238E27FC236}">
                <a16:creationId xmlns:a16="http://schemas.microsoft.com/office/drawing/2014/main" id="{F1302650-6056-4774-85F8-B07F5B089F8E}"/>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493280" y="938321"/>
            <a:ext cx="463296" cy="463296"/>
          </a:xfrm>
          <a:prstGeom prst="rect">
            <a:avLst/>
          </a:prstGeom>
          <a:noFill/>
          <a:extLst>
            <a:ext uri="{909E8E84-426E-40DD-AFC4-6F175D3DCCD1}">
              <a14:hiddenFill xmlns:a14="http://schemas.microsoft.com/office/drawing/2010/main">
                <a:solidFill>
                  <a:srgbClr val="FFFFFF"/>
                </a:solidFill>
              </a14:hiddenFill>
            </a:ext>
          </a:extLst>
        </p:spPr>
      </p:pic>
      <p:sp>
        <p:nvSpPr>
          <p:cNvPr id="6" name="Segnaposto contenuto 2">
            <a:extLst>
              <a:ext uri="{FF2B5EF4-FFF2-40B4-BE49-F238E27FC236}">
                <a16:creationId xmlns:a16="http://schemas.microsoft.com/office/drawing/2014/main" id="{1B522F23-A424-4F12-8F10-3D071758CE37}"/>
              </a:ext>
            </a:extLst>
          </p:cNvPr>
          <p:cNvSpPr txBox="1">
            <a:spLocks/>
          </p:cNvSpPr>
          <p:nvPr/>
        </p:nvSpPr>
        <p:spPr>
          <a:xfrm>
            <a:off x="493280" y="1783812"/>
            <a:ext cx="11363775" cy="264667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buNone/>
            </a:pPr>
            <a:r>
              <a:rPr lang="it-IT" sz="1200" b="1" dirty="0">
                <a:solidFill>
                  <a:schemeClr val="accent3"/>
                </a:solidFill>
              </a:rPr>
              <a:t>Il progetto della sicurezza delle gallerie</a:t>
            </a:r>
            <a:r>
              <a:rPr lang="it-IT" sz="1200" dirty="0">
                <a:solidFill>
                  <a:schemeClr val="accent3"/>
                </a:solidFill>
              </a:rPr>
              <a:t>, sviluppato dal Politecnico di Torino, stante le caratteristiche architettoniche e geometriche dell’infrastruttura e le caratteristiche del traffico incidente, </a:t>
            </a:r>
            <a:r>
              <a:rPr lang="it-IT" sz="1200" b="1" dirty="0">
                <a:solidFill>
                  <a:schemeClr val="accent3"/>
                </a:solidFill>
              </a:rPr>
              <a:t>ha incluso anche un’Analisi di Rischio condotta in modo conforme alla metodologia tratteggiata nell’Allegato 3 del </a:t>
            </a:r>
            <a:r>
              <a:rPr lang="it-IT" sz="1200" b="1" dirty="0" err="1">
                <a:solidFill>
                  <a:schemeClr val="accent3"/>
                </a:solidFill>
              </a:rPr>
              <a:t>D.Lgs</a:t>
            </a:r>
            <a:r>
              <a:rPr lang="it-IT" sz="1200" b="1" dirty="0">
                <a:solidFill>
                  <a:schemeClr val="accent3"/>
                </a:solidFill>
              </a:rPr>
              <a:t> 264/2006</a:t>
            </a:r>
            <a:r>
              <a:rPr lang="it-IT" sz="1200" dirty="0">
                <a:solidFill>
                  <a:schemeClr val="accent3"/>
                </a:solidFill>
              </a:rPr>
              <a:t>. L’Analisi ha confermato che le misure di sicurezza individuate per le gallerie soddisfano la teoria di accettazione del rischio adottata nel </a:t>
            </a:r>
            <a:r>
              <a:rPr lang="it-IT" sz="1200" dirty="0" err="1">
                <a:solidFill>
                  <a:schemeClr val="accent3"/>
                </a:solidFill>
              </a:rPr>
              <a:t>D.Lgs</a:t>
            </a:r>
            <a:r>
              <a:rPr lang="it-IT" sz="1200" dirty="0">
                <a:solidFill>
                  <a:schemeClr val="accent3"/>
                </a:solidFill>
              </a:rPr>
              <a:t> 264/2006 basata sul principio ALARP.</a:t>
            </a:r>
          </a:p>
        </p:txBody>
      </p:sp>
      <p:graphicFrame>
        <p:nvGraphicFramePr>
          <p:cNvPr id="9" name="Tabella 30">
            <a:extLst>
              <a:ext uri="{FF2B5EF4-FFF2-40B4-BE49-F238E27FC236}">
                <a16:creationId xmlns:a16="http://schemas.microsoft.com/office/drawing/2014/main" id="{9C28297F-801D-4112-BFCC-0CFF9E8549E0}"/>
              </a:ext>
            </a:extLst>
          </p:cNvPr>
          <p:cNvGraphicFramePr>
            <a:graphicFrameLocks noGrp="1"/>
          </p:cNvGraphicFramePr>
          <p:nvPr>
            <p:extLst>
              <p:ext uri="{D42A27DB-BD31-4B8C-83A1-F6EECF244321}">
                <p14:modId xmlns:p14="http://schemas.microsoft.com/office/powerpoint/2010/main" val="286737283"/>
              </p:ext>
            </p:extLst>
          </p:nvPr>
        </p:nvGraphicFramePr>
        <p:xfrm>
          <a:off x="7668378" y="2881483"/>
          <a:ext cx="4130861" cy="1095033"/>
        </p:xfrm>
        <a:graphic>
          <a:graphicData uri="http://schemas.openxmlformats.org/drawingml/2006/table">
            <a:tbl>
              <a:tblPr firstRow="1" bandRow="1">
                <a:tableStyleId>{5C22544A-7EE6-4342-B048-85BDC9FD1C3A}</a:tableStyleId>
              </a:tblPr>
              <a:tblGrid>
                <a:gridCol w="1130973">
                  <a:extLst>
                    <a:ext uri="{9D8B030D-6E8A-4147-A177-3AD203B41FA5}">
                      <a16:colId xmlns:a16="http://schemas.microsoft.com/office/drawing/2014/main" val="2017343340"/>
                    </a:ext>
                  </a:extLst>
                </a:gridCol>
                <a:gridCol w="721894">
                  <a:extLst>
                    <a:ext uri="{9D8B030D-6E8A-4147-A177-3AD203B41FA5}">
                      <a16:colId xmlns:a16="http://schemas.microsoft.com/office/drawing/2014/main" val="2737948790"/>
                    </a:ext>
                  </a:extLst>
                </a:gridCol>
                <a:gridCol w="685800">
                  <a:extLst>
                    <a:ext uri="{9D8B030D-6E8A-4147-A177-3AD203B41FA5}">
                      <a16:colId xmlns:a16="http://schemas.microsoft.com/office/drawing/2014/main" val="1559674667"/>
                    </a:ext>
                  </a:extLst>
                </a:gridCol>
                <a:gridCol w="624918">
                  <a:extLst>
                    <a:ext uri="{9D8B030D-6E8A-4147-A177-3AD203B41FA5}">
                      <a16:colId xmlns:a16="http://schemas.microsoft.com/office/drawing/2014/main" val="3019012151"/>
                    </a:ext>
                  </a:extLst>
                </a:gridCol>
                <a:gridCol w="967276">
                  <a:extLst>
                    <a:ext uri="{9D8B030D-6E8A-4147-A177-3AD203B41FA5}">
                      <a16:colId xmlns:a16="http://schemas.microsoft.com/office/drawing/2014/main" val="3482761174"/>
                    </a:ext>
                  </a:extLst>
                </a:gridCol>
              </a:tblGrid>
              <a:tr h="550904">
                <a:tc>
                  <a:txBody>
                    <a:bodyPr/>
                    <a:lstStyle/>
                    <a:p>
                      <a:pPr algn="ctr"/>
                      <a:r>
                        <a:rPr lang="it-IT" sz="1000" dirty="0"/>
                        <a:t>Galleria</a:t>
                      </a:r>
                      <a:endParaRPr lang="it-IT" sz="1000" dirty="0">
                        <a:latin typeface="+mn-lt"/>
                      </a:endParaRPr>
                    </a:p>
                  </a:txBody>
                  <a:tcPr anchor="ctr"/>
                </a:tc>
                <a:tc>
                  <a:txBody>
                    <a:bodyPr/>
                    <a:lstStyle/>
                    <a:p>
                      <a:pPr algn="ctr"/>
                      <a:r>
                        <a:rPr lang="it-IT" sz="1000" dirty="0"/>
                        <a:t>L</a:t>
                      </a:r>
                      <a:endParaRPr lang="it-IT" sz="1000" dirty="0">
                        <a:latin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dirty="0"/>
                        <a:t>Corsie</a:t>
                      </a:r>
                      <a:endParaRPr lang="it-IT" sz="1000" dirty="0">
                        <a:latin typeface="+mn-lt"/>
                      </a:endParaRPr>
                    </a:p>
                  </a:txBody>
                  <a:tcPr anchor="ctr"/>
                </a:tc>
                <a:tc gridSpan="2">
                  <a:txBody>
                    <a:bodyPr/>
                    <a:lstStyle/>
                    <a:p>
                      <a:pPr algn="ctr">
                        <a:lnSpc>
                          <a:spcPct val="150000"/>
                        </a:lnSpc>
                      </a:pPr>
                      <a:r>
                        <a:rPr lang="it-IT" sz="1000" dirty="0"/>
                        <a:t>Uscite di </a:t>
                      </a:r>
                      <a:r>
                        <a:rPr lang="it-IT" sz="1000" dirty="0" err="1"/>
                        <a:t>emrgenza</a:t>
                      </a:r>
                      <a:r>
                        <a:rPr lang="it-IT" sz="1000" dirty="0">
                          <a:solidFill>
                            <a:schemeClr val="lt1"/>
                          </a:solidFill>
                        </a:rPr>
                        <a:t>  </a:t>
                      </a:r>
                      <a:r>
                        <a:rPr lang="it-IT" sz="1000" dirty="0">
                          <a:solidFill>
                            <a:schemeClr val="bg1"/>
                          </a:solidFill>
                        </a:rPr>
                        <a:t>    N°             Interasse</a:t>
                      </a:r>
                      <a:endParaRPr lang="it-IT" sz="1000" dirty="0">
                        <a:solidFill>
                          <a:schemeClr val="bg1"/>
                        </a:solidFill>
                        <a:latin typeface="+mn-lt"/>
                      </a:endParaRPr>
                    </a:p>
                  </a:txBody>
                  <a:tcPr anchor="ctr"/>
                </a:tc>
                <a:tc hMerge="1">
                  <a:txBody>
                    <a:bodyPr/>
                    <a:lstStyle/>
                    <a:p>
                      <a:pPr algn="ctr"/>
                      <a:r>
                        <a:rPr lang="it-IT" sz="1000" dirty="0">
                          <a:latin typeface="+mn-lt"/>
                        </a:rPr>
                        <a:t>Interasse</a:t>
                      </a:r>
                    </a:p>
                  </a:txBody>
                  <a:tcPr anchor="ctr"/>
                </a:tc>
                <a:extLst>
                  <a:ext uri="{0D108BD9-81ED-4DB2-BD59-A6C34878D82A}">
                    <a16:rowId xmlns:a16="http://schemas.microsoft.com/office/drawing/2014/main" val="421861478"/>
                  </a:ext>
                </a:extLst>
              </a:tr>
              <a:tr h="300289">
                <a:tc>
                  <a:txBody>
                    <a:bodyPr/>
                    <a:lstStyle/>
                    <a:p>
                      <a:pPr algn="l"/>
                      <a:r>
                        <a:rPr lang="it-IT" sz="1000" dirty="0"/>
                        <a:t>Caravaggio</a:t>
                      </a:r>
                      <a:endParaRPr lang="it-IT" sz="1000" dirty="0">
                        <a:latin typeface="+mn-lt"/>
                      </a:endParaRPr>
                    </a:p>
                  </a:txBody>
                  <a:tcPr anchor="ctr"/>
                </a:tc>
                <a:tc>
                  <a:txBody>
                    <a:bodyPr/>
                    <a:lstStyle/>
                    <a:p>
                      <a:pPr algn="ctr"/>
                      <a:r>
                        <a:rPr lang="it-IT" sz="1000" dirty="0"/>
                        <a:t>~ 2,1 km</a:t>
                      </a:r>
                      <a:endParaRPr lang="it-IT" sz="1000" dirty="0">
                        <a:latin typeface="+mn-lt"/>
                      </a:endParaRPr>
                    </a:p>
                  </a:txBody>
                  <a:tcPr anchor="ctr"/>
                </a:tc>
                <a:tc>
                  <a:txBody>
                    <a:bodyPr/>
                    <a:lstStyle/>
                    <a:p>
                      <a:pPr algn="ctr"/>
                      <a:r>
                        <a:rPr lang="it-IT" sz="1000" dirty="0"/>
                        <a:t>165 mq</a:t>
                      </a:r>
                      <a:endParaRPr lang="it-IT" sz="1000" dirty="0">
                        <a:latin typeface="+mn-lt"/>
                      </a:endParaRPr>
                    </a:p>
                  </a:txBody>
                  <a:tcPr anchor="ctr"/>
                </a:tc>
                <a:tc>
                  <a:txBody>
                    <a:bodyPr/>
                    <a:lstStyle/>
                    <a:p>
                      <a:pPr algn="ctr"/>
                      <a:r>
                        <a:rPr lang="it-IT" sz="1000" dirty="0"/>
                        <a:t>4</a:t>
                      </a:r>
                      <a:endParaRPr lang="it-IT" sz="1000" dirty="0">
                        <a:latin typeface="+mn-lt"/>
                      </a:endParaRPr>
                    </a:p>
                  </a:txBody>
                  <a:tcPr anchor="ctr"/>
                </a:tc>
                <a:tc>
                  <a:txBody>
                    <a:bodyPr/>
                    <a:lstStyle/>
                    <a:p>
                      <a:pPr algn="ctr"/>
                      <a:r>
                        <a:rPr lang="it-IT" sz="1000" dirty="0"/>
                        <a:t>500 m</a:t>
                      </a:r>
                      <a:endParaRPr lang="it-IT" sz="1000" dirty="0">
                        <a:latin typeface="+mn-lt"/>
                      </a:endParaRPr>
                    </a:p>
                  </a:txBody>
                  <a:tcPr anchor="ctr"/>
                </a:tc>
                <a:extLst>
                  <a:ext uri="{0D108BD9-81ED-4DB2-BD59-A6C34878D82A}">
                    <a16:rowId xmlns:a16="http://schemas.microsoft.com/office/drawing/2014/main" val="3314439511"/>
                  </a:ext>
                </a:extLst>
              </a:tr>
              <a:tr h="213360">
                <a:tc>
                  <a:txBody>
                    <a:bodyPr/>
                    <a:lstStyle/>
                    <a:p>
                      <a:pPr algn="l"/>
                      <a:r>
                        <a:rPr lang="it-IT" sz="1000" dirty="0"/>
                        <a:t>Fontanabuona</a:t>
                      </a:r>
                      <a:endParaRPr lang="it-IT" sz="1000" dirty="0">
                        <a:latin typeface="+mn-lt"/>
                      </a:endParaRPr>
                    </a:p>
                  </a:txBody>
                  <a:tcPr anchor="ctr"/>
                </a:tc>
                <a:tc>
                  <a:txBody>
                    <a:bodyPr/>
                    <a:lstStyle/>
                    <a:p>
                      <a:pPr algn="ctr"/>
                      <a:r>
                        <a:rPr lang="it-IT" sz="1000" dirty="0"/>
                        <a:t>~ 2,6 km</a:t>
                      </a:r>
                      <a:endParaRPr lang="it-IT" sz="1000" dirty="0">
                        <a:latin typeface="+mn-lt"/>
                      </a:endParaRPr>
                    </a:p>
                  </a:txBody>
                  <a:tcPr anchor="ctr"/>
                </a:tc>
                <a:tc>
                  <a:txBody>
                    <a:bodyPr/>
                    <a:lstStyle/>
                    <a:p>
                      <a:pPr algn="ctr"/>
                      <a:r>
                        <a:rPr lang="it-IT" sz="1000" dirty="0"/>
                        <a:t>165 mq</a:t>
                      </a:r>
                      <a:endParaRPr lang="it-IT" sz="1000" dirty="0">
                        <a:latin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dirty="0"/>
                        <a:t>5</a:t>
                      </a:r>
                      <a:endParaRPr lang="it-IT" sz="1000" dirty="0">
                        <a:latin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dirty="0"/>
                        <a:t>500 m</a:t>
                      </a:r>
                      <a:endParaRPr lang="it-IT" sz="1000" dirty="0">
                        <a:latin typeface="+mn-lt"/>
                      </a:endParaRPr>
                    </a:p>
                  </a:txBody>
                  <a:tcPr anchor="ctr"/>
                </a:tc>
                <a:extLst>
                  <a:ext uri="{0D108BD9-81ED-4DB2-BD59-A6C34878D82A}">
                    <a16:rowId xmlns:a16="http://schemas.microsoft.com/office/drawing/2014/main" val="3107351110"/>
                  </a:ext>
                </a:extLst>
              </a:tr>
            </a:tbl>
          </a:graphicData>
        </a:graphic>
      </p:graphicFrame>
      <p:cxnSp>
        <p:nvCxnSpPr>
          <p:cNvPr id="7" name="Connettore diritto 6">
            <a:extLst>
              <a:ext uri="{FF2B5EF4-FFF2-40B4-BE49-F238E27FC236}">
                <a16:creationId xmlns:a16="http://schemas.microsoft.com/office/drawing/2014/main" id="{AD9B2DCB-30B8-478F-8F66-9E38AC483071}"/>
              </a:ext>
            </a:extLst>
          </p:cNvPr>
          <p:cNvCxnSpPr/>
          <p:nvPr/>
        </p:nvCxnSpPr>
        <p:spPr>
          <a:xfrm>
            <a:off x="10202779" y="3179340"/>
            <a:ext cx="1596460" cy="0"/>
          </a:xfrm>
          <a:prstGeom prst="line">
            <a:avLst/>
          </a:prstGeom>
          <a:ln>
            <a:solidFill>
              <a:srgbClr val="E1EDF4"/>
            </a:solidFill>
          </a:ln>
        </p:spPr>
        <p:style>
          <a:lnRef idx="1">
            <a:schemeClr val="accent1"/>
          </a:lnRef>
          <a:fillRef idx="0">
            <a:schemeClr val="accent1"/>
          </a:fillRef>
          <a:effectRef idx="0">
            <a:schemeClr val="accent1"/>
          </a:effectRef>
          <a:fontRef idx="minor">
            <a:schemeClr val="tx1"/>
          </a:fontRef>
        </p:style>
      </p:cxnSp>
      <p:cxnSp>
        <p:nvCxnSpPr>
          <p:cNvPr id="10" name="Connettore diritto 9">
            <a:extLst>
              <a:ext uri="{FF2B5EF4-FFF2-40B4-BE49-F238E27FC236}">
                <a16:creationId xmlns:a16="http://schemas.microsoft.com/office/drawing/2014/main" id="{4346CA8B-6AB5-4178-8D98-D6714270EB10}"/>
              </a:ext>
            </a:extLst>
          </p:cNvPr>
          <p:cNvCxnSpPr/>
          <p:nvPr/>
        </p:nvCxnSpPr>
        <p:spPr>
          <a:xfrm flipV="1">
            <a:off x="10828077" y="3179340"/>
            <a:ext cx="0" cy="249659"/>
          </a:xfrm>
          <a:prstGeom prst="line">
            <a:avLst/>
          </a:prstGeom>
          <a:ln>
            <a:solidFill>
              <a:srgbClr val="E1EDF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21136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8">
            <a:extLst>
              <a:ext uri="{FF2B5EF4-FFF2-40B4-BE49-F238E27FC236}">
                <a16:creationId xmlns:a16="http://schemas.microsoft.com/office/drawing/2014/main" id="{159E0B95-1159-47B6-93D4-DD9555426108}"/>
              </a:ext>
            </a:extLst>
          </p:cNvPr>
          <p:cNvSpPr txBox="1">
            <a:spLocks/>
          </p:cNvSpPr>
          <p:nvPr/>
        </p:nvSpPr>
        <p:spPr>
          <a:xfrm>
            <a:off x="1022382" y="1093910"/>
            <a:ext cx="5073618" cy="424056"/>
          </a:xfrm>
          <a:prstGeom prst="rect">
            <a:avLst/>
          </a:prstGeom>
        </p:spPr>
        <p:txBody>
          <a:bodyPr vert="horz" lIns="91440" tIns="45720" rIns="91440" bIns="45720" rtlCol="0" anchor="b">
            <a:no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Opere principali</a:t>
            </a:r>
          </a:p>
        </p:txBody>
      </p:sp>
      <p:sp>
        <p:nvSpPr>
          <p:cNvPr id="6" name="Segnaposto contenuto 2">
            <a:extLst>
              <a:ext uri="{FF2B5EF4-FFF2-40B4-BE49-F238E27FC236}">
                <a16:creationId xmlns:a16="http://schemas.microsoft.com/office/drawing/2014/main" id="{1B522F23-A424-4F12-8F10-3D071758CE37}"/>
              </a:ext>
            </a:extLst>
          </p:cNvPr>
          <p:cNvSpPr txBox="1">
            <a:spLocks/>
          </p:cNvSpPr>
          <p:nvPr/>
        </p:nvSpPr>
        <p:spPr>
          <a:xfrm>
            <a:off x="452931" y="1662282"/>
            <a:ext cx="11361117" cy="42405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buNone/>
            </a:pPr>
            <a:r>
              <a:rPr lang="it-IT" sz="1200" b="1" dirty="0">
                <a:solidFill>
                  <a:srgbClr val="000000"/>
                </a:solidFill>
              </a:rPr>
              <a:t>Rampa principale: Imbocco G. Caravaggio lato Val Fontanabuona e Tratto all’aperto in rilevato in corrispondenza di </a:t>
            </a:r>
            <a:r>
              <a:rPr lang="it-IT" sz="1200" b="1" dirty="0" err="1">
                <a:solidFill>
                  <a:srgbClr val="000000"/>
                </a:solidFill>
              </a:rPr>
              <a:t>Arboccò</a:t>
            </a:r>
            <a:endParaRPr lang="it-IT" sz="1200" dirty="0">
              <a:solidFill>
                <a:srgbClr val="000000"/>
              </a:solidFill>
            </a:endParaRPr>
          </a:p>
        </p:txBody>
      </p:sp>
      <p:sp>
        <p:nvSpPr>
          <p:cNvPr id="20" name="Titolo 6">
            <a:extLst>
              <a:ext uri="{FF2B5EF4-FFF2-40B4-BE49-F238E27FC236}">
                <a16:creationId xmlns:a16="http://schemas.microsoft.com/office/drawing/2014/main" id="{F4B312A5-AB17-4CA0-905E-D7BAFAB4FFD6}"/>
              </a:ext>
            </a:extLst>
          </p:cNvPr>
          <p:cNvSpPr>
            <a:spLocks noGrp="1"/>
          </p:cNvSpPr>
          <p:nvPr>
            <p:ph type="title"/>
          </p:nvPr>
        </p:nvSpPr>
        <p:spPr>
          <a:xfrm>
            <a:off x="264349" y="366297"/>
            <a:ext cx="10515600" cy="418646"/>
          </a:xfrm>
        </p:spPr>
        <p:txBody>
          <a:bodyPr>
            <a:normAutofit fontScale="90000"/>
          </a:bodyPr>
          <a:lstStyle/>
          <a:p>
            <a:r>
              <a:rPr lang="it-IT" sz="3200" b="1" dirty="0"/>
              <a:t>05. Descrizione dell’intervento</a:t>
            </a:r>
          </a:p>
        </p:txBody>
      </p:sp>
      <p:sp>
        <p:nvSpPr>
          <p:cNvPr id="21" name="Rettangolo 20">
            <a:extLst>
              <a:ext uri="{FF2B5EF4-FFF2-40B4-BE49-F238E27FC236}">
                <a16:creationId xmlns:a16="http://schemas.microsoft.com/office/drawing/2014/main" id="{DDEBEF42-FB5F-40AA-A6A7-5860EC8CB590}"/>
              </a:ext>
            </a:extLst>
          </p:cNvPr>
          <p:cNvSpPr/>
          <p:nvPr/>
        </p:nvSpPr>
        <p:spPr>
          <a:xfrm>
            <a:off x="264349" y="851028"/>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Ovale 18">
            <a:extLst>
              <a:ext uri="{FF2B5EF4-FFF2-40B4-BE49-F238E27FC236}">
                <a16:creationId xmlns:a16="http://schemas.microsoft.com/office/drawing/2014/main" id="{6BB602DF-0125-4A38-A55A-2ADA1E2894DB}"/>
              </a:ext>
            </a:extLst>
          </p:cNvPr>
          <p:cNvSpPr/>
          <p:nvPr/>
        </p:nvSpPr>
        <p:spPr>
          <a:xfrm>
            <a:off x="452931" y="1031322"/>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1030" name="Picture 6">
            <a:extLst>
              <a:ext uri="{FF2B5EF4-FFF2-40B4-BE49-F238E27FC236}">
                <a16:creationId xmlns:a16="http://schemas.microsoft.com/office/drawing/2014/main" id="{F1302650-6056-4774-85F8-B07F5B089F8E}"/>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493280" y="938321"/>
            <a:ext cx="463296" cy="463296"/>
          </a:xfrm>
          <a:prstGeom prst="rect">
            <a:avLst/>
          </a:prstGeom>
          <a:noFill/>
          <a:extLst>
            <a:ext uri="{909E8E84-426E-40DD-AFC4-6F175D3DCCD1}">
              <a14:hiddenFill xmlns:a14="http://schemas.microsoft.com/office/drawing/2010/main">
                <a:solidFill>
                  <a:srgbClr val="FFFFFF"/>
                </a:solidFill>
              </a14:hiddenFill>
            </a:ext>
          </a:extLst>
        </p:spPr>
      </p:pic>
      <p:pic>
        <p:nvPicPr>
          <p:cNvPr id="7" name="Immagine 6">
            <a:extLst>
              <a:ext uri="{FF2B5EF4-FFF2-40B4-BE49-F238E27FC236}">
                <a16:creationId xmlns:a16="http://schemas.microsoft.com/office/drawing/2014/main" id="{9676F788-D872-4200-94AC-448A3879C9B9}"/>
              </a:ext>
            </a:extLst>
          </p:cNvPr>
          <p:cNvPicPr>
            <a:picLocks noChangeAspect="1"/>
          </p:cNvPicPr>
          <p:nvPr/>
        </p:nvPicPr>
        <p:blipFill rotWithShape="1">
          <a:blip r:embed="rId4"/>
          <a:srcRect l="-765" t="9305" r="918" b="35609"/>
          <a:stretch/>
        </p:blipFill>
        <p:spPr>
          <a:xfrm>
            <a:off x="463956" y="2086338"/>
            <a:ext cx="11162662" cy="4197231"/>
          </a:xfrm>
          <a:prstGeom prst="rect">
            <a:avLst/>
          </a:prstGeom>
        </p:spPr>
      </p:pic>
      <p:pic>
        <p:nvPicPr>
          <p:cNvPr id="14" name="Immagine 13">
            <a:extLst>
              <a:ext uri="{FF2B5EF4-FFF2-40B4-BE49-F238E27FC236}">
                <a16:creationId xmlns:a16="http://schemas.microsoft.com/office/drawing/2014/main" id="{6B0F8167-2AA1-4654-A25E-2A7BC3209430}"/>
              </a:ext>
            </a:extLst>
          </p:cNvPr>
          <p:cNvPicPr>
            <a:picLocks noChangeAspect="1"/>
          </p:cNvPicPr>
          <p:nvPr/>
        </p:nvPicPr>
        <p:blipFill rotWithShape="1">
          <a:blip r:embed="rId5"/>
          <a:srcRect l="1503" t="4312" r="1402"/>
          <a:stretch/>
        </p:blipFill>
        <p:spPr>
          <a:xfrm>
            <a:off x="551612" y="2086338"/>
            <a:ext cx="3768112" cy="1838891"/>
          </a:xfrm>
          <a:prstGeom prst="rect">
            <a:avLst/>
          </a:prstGeom>
          <a:ln w="6350">
            <a:solidFill>
              <a:schemeClr val="accent6">
                <a:lumMod val="50000"/>
              </a:schemeClr>
            </a:solidFill>
          </a:ln>
        </p:spPr>
      </p:pic>
    </p:spTree>
    <p:extLst>
      <p:ext uri="{BB962C8B-B14F-4D97-AF65-F5344CB8AC3E}">
        <p14:creationId xmlns:p14="http://schemas.microsoft.com/office/powerpoint/2010/main" val="39458920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8">
            <a:extLst>
              <a:ext uri="{FF2B5EF4-FFF2-40B4-BE49-F238E27FC236}">
                <a16:creationId xmlns:a16="http://schemas.microsoft.com/office/drawing/2014/main" id="{159E0B95-1159-47B6-93D4-DD9555426108}"/>
              </a:ext>
            </a:extLst>
          </p:cNvPr>
          <p:cNvSpPr txBox="1">
            <a:spLocks/>
          </p:cNvSpPr>
          <p:nvPr/>
        </p:nvSpPr>
        <p:spPr>
          <a:xfrm>
            <a:off x="1022382" y="1093910"/>
            <a:ext cx="5073618" cy="424056"/>
          </a:xfrm>
          <a:prstGeom prst="rect">
            <a:avLst/>
          </a:prstGeom>
        </p:spPr>
        <p:txBody>
          <a:bodyPr vert="horz" lIns="91440" tIns="45720" rIns="91440" bIns="45720" rtlCol="0" anchor="b">
            <a:no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Opere principali</a:t>
            </a:r>
          </a:p>
        </p:txBody>
      </p:sp>
      <p:sp>
        <p:nvSpPr>
          <p:cNvPr id="6" name="Segnaposto contenuto 2">
            <a:extLst>
              <a:ext uri="{FF2B5EF4-FFF2-40B4-BE49-F238E27FC236}">
                <a16:creationId xmlns:a16="http://schemas.microsoft.com/office/drawing/2014/main" id="{1B522F23-A424-4F12-8F10-3D071758CE37}"/>
              </a:ext>
            </a:extLst>
          </p:cNvPr>
          <p:cNvSpPr txBox="1">
            <a:spLocks/>
          </p:cNvSpPr>
          <p:nvPr/>
        </p:nvSpPr>
        <p:spPr>
          <a:xfrm>
            <a:off x="452931" y="1662282"/>
            <a:ext cx="11361117" cy="42405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buNone/>
            </a:pPr>
            <a:r>
              <a:rPr lang="it-IT" sz="1200" b="1" dirty="0">
                <a:solidFill>
                  <a:srgbClr val="000000"/>
                </a:solidFill>
              </a:rPr>
              <a:t>Rampa principale: Imbocco G. Fontanabuona lato Val Fontanabuona e stazione di esazione</a:t>
            </a:r>
            <a:endParaRPr lang="it-IT" sz="1200" dirty="0">
              <a:solidFill>
                <a:srgbClr val="000000"/>
              </a:solidFill>
            </a:endParaRPr>
          </a:p>
        </p:txBody>
      </p:sp>
      <p:sp>
        <p:nvSpPr>
          <p:cNvPr id="20" name="Titolo 6">
            <a:extLst>
              <a:ext uri="{FF2B5EF4-FFF2-40B4-BE49-F238E27FC236}">
                <a16:creationId xmlns:a16="http://schemas.microsoft.com/office/drawing/2014/main" id="{F4B312A5-AB17-4CA0-905E-D7BAFAB4FFD6}"/>
              </a:ext>
            </a:extLst>
          </p:cNvPr>
          <p:cNvSpPr>
            <a:spLocks noGrp="1"/>
          </p:cNvSpPr>
          <p:nvPr>
            <p:ph type="title"/>
          </p:nvPr>
        </p:nvSpPr>
        <p:spPr>
          <a:xfrm>
            <a:off x="264349" y="366297"/>
            <a:ext cx="10515600" cy="418646"/>
          </a:xfrm>
        </p:spPr>
        <p:txBody>
          <a:bodyPr>
            <a:normAutofit fontScale="90000"/>
          </a:bodyPr>
          <a:lstStyle/>
          <a:p>
            <a:r>
              <a:rPr lang="it-IT" sz="3200" b="1" dirty="0"/>
              <a:t>05. Descrizione dell’intervento</a:t>
            </a:r>
          </a:p>
        </p:txBody>
      </p:sp>
      <p:sp>
        <p:nvSpPr>
          <p:cNvPr id="21" name="Rettangolo 20">
            <a:extLst>
              <a:ext uri="{FF2B5EF4-FFF2-40B4-BE49-F238E27FC236}">
                <a16:creationId xmlns:a16="http://schemas.microsoft.com/office/drawing/2014/main" id="{DDEBEF42-FB5F-40AA-A6A7-5860EC8CB590}"/>
              </a:ext>
            </a:extLst>
          </p:cNvPr>
          <p:cNvSpPr/>
          <p:nvPr/>
        </p:nvSpPr>
        <p:spPr>
          <a:xfrm>
            <a:off x="264349" y="851028"/>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Ovale 18">
            <a:extLst>
              <a:ext uri="{FF2B5EF4-FFF2-40B4-BE49-F238E27FC236}">
                <a16:creationId xmlns:a16="http://schemas.microsoft.com/office/drawing/2014/main" id="{6BB602DF-0125-4A38-A55A-2ADA1E2894DB}"/>
              </a:ext>
            </a:extLst>
          </p:cNvPr>
          <p:cNvSpPr/>
          <p:nvPr/>
        </p:nvSpPr>
        <p:spPr>
          <a:xfrm>
            <a:off x="452931" y="1031322"/>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1030" name="Picture 6">
            <a:extLst>
              <a:ext uri="{FF2B5EF4-FFF2-40B4-BE49-F238E27FC236}">
                <a16:creationId xmlns:a16="http://schemas.microsoft.com/office/drawing/2014/main" id="{F1302650-6056-4774-85F8-B07F5B089F8E}"/>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493280" y="938321"/>
            <a:ext cx="463296" cy="463296"/>
          </a:xfrm>
          <a:prstGeom prst="rect">
            <a:avLst/>
          </a:prstGeom>
          <a:noFill/>
          <a:extLst>
            <a:ext uri="{909E8E84-426E-40DD-AFC4-6F175D3DCCD1}">
              <a14:hiddenFill xmlns:a14="http://schemas.microsoft.com/office/drawing/2010/main">
                <a:solidFill>
                  <a:srgbClr val="FFFFFF"/>
                </a:solidFill>
              </a14:hiddenFill>
            </a:ext>
          </a:extLst>
        </p:spPr>
      </p:pic>
      <p:pic>
        <p:nvPicPr>
          <p:cNvPr id="3" name="Immagine 2">
            <a:extLst>
              <a:ext uri="{FF2B5EF4-FFF2-40B4-BE49-F238E27FC236}">
                <a16:creationId xmlns:a16="http://schemas.microsoft.com/office/drawing/2014/main" id="{73D2C611-4B76-4DE7-8F6F-E3FD1555AD74}"/>
              </a:ext>
            </a:extLst>
          </p:cNvPr>
          <p:cNvPicPr>
            <a:picLocks noChangeAspect="1"/>
          </p:cNvPicPr>
          <p:nvPr/>
        </p:nvPicPr>
        <p:blipFill rotWithShape="1">
          <a:blip r:embed="rId4"/>
          <a:srcRect l="48" t="10026" r="-48" b="20518"/>
          <a:stretch/>
        </p:blipFill>
        <p:spPr>
          <a:xfrm>
            <a:off x="545578" y="2086338"/>
            <a:ext cx="11194628" cy="4138616"/>
          </a:xfrm>
          <a:prstGeom prst="rect">
            <a:avLst/>
          </a:prstGeom>
        </p:spPr>
      </p:pic>
      <p:graphicFrame>
        <p:nvGraphicFramePr>
          <p:cNvPr id="9" name="Tabella 30">
            <a:extLst>
              <a:ext uri="{FF2B5EF4-FFF2-40B4-BE49-F238E27FC236}">
                <a16:creationId xmlns:a16="http://schemas.microsoft.com/office/drawing/2014/main" id="{05DF1C98-6EB9-47DA-8529-7B1AEFC5C907}"/>
              </a:ext>
            </a:extLst>
          </p:cNvPr>
          <p:cNvGraphicFramePr>
            <a:graphicFrameLocks noGrp="1"/>
          </p:cNvGraphicFramePr>
          <p:nvPr>
            <p:extLst>
              <p:ext uri="{D42A27DB-BD31-4B8C-83A1-F6EECF244321}">
                <p14:modId xmlns:p14="http://schemas.microsoft.com/office/powerpoint/2010/main" val="4211120083"/>
              </p:ext>
            </p:extLst>
          </p:nvPr>
        </p:nvGraphicFramePr>
        <p:xfrm>
          <a:off x="6255752" y="2075248"/>
          <a:ext cx="5483317" cy="870292"/>
        </p:xfrm>
        <a:graphic>
          <a:graphicData uri="http://schemas.openxmlformats.org/drawingml/2006/table">
            <a:tbl>
              <a:tblPr firstRow="1" bandRow="1">
                <a:tableStyleId>{5C22544A-7EE6-4342-B048-85BDC9FD1C3A}</a:tableStyleId>
              </a:tblPr>
              <a:tblGrid>
                <a:gridCol w="1225503">
                  <a:extLst>
                    <a:ext uri="{9D8B030D-6E8A-4147-A177-3AD203B41FA5}">
                      <a16:colId xmlns:a16="http://schemas.microsoft.com/office/drawing/2014/main" val="2017343340"/>
                    </a:ext>
                  </a:extLst>
                </a:gridCol>
                <a:gridCol w="622300">
                  <a:extLst>
                    <a:ext uri="{9D8B030D-6E8A-4147-A177-3AD203B41FA5}">
                      <a16:colId xmlns:a16="http://schemas.microsoft.com/office/drawing/2014/main" val="2737948790"/>
                    </a:ext>
                  </a:extLst>
                </a:gridCol>
                <a:gridCol w="495300">
                  <a:extLst>
                    <a:ext uri="{9D8B030D-6E8A-4147-A177-3AD203B41FA5}">
                      <a16:colId xmlns:a16="http://schemas.microsoft.com/office/drawing/2014/main" val="3141656661"/>
                    </a:ext>
                  </a:extLst>
                </a:gridCol>
                <a:gridCol w="774748">
                  <a:extLst>
                    <a:ext uri="{9D8B030D-6E8A-4147-A177-3AD203B41FA5}">
                      <a16:colId xmlns:a16="http://schemas.microsoft.com/office/drawing/2014/main" val="2061547035"/>
                    </a:ext>
                  </a:extLst>
                </a:gridCol>
                <a:gridCol w="1374866">
                  <a:extLst>
                    <a:ext uri="{9D8B030D-6E8A-4147-A177-3AD203B41FA5}">
                      <a16:colId xmlns:a16="http://schemas.microsoft.com/office/drawing/2014/main" val="1559674667"/>
                    </a:ext>
                  </a:extLst>
                </a:gridCol>
                <a:gridCol w="990600">
                  <a:extLst>
                    <a:ext uri="{9D8B030D-6E8A-4147-A177-3AD203B41FA5}">
                      <a16:colId xmlns:a16="http://schemas.microsoft.com/office/drawing/2014/main" val="1571306955"/>
                    </a:ext>
                  </a:extLst>
                </a:gridCol>
              </a:tblGrid>
              <a:tr h="435146">
                <a:tc gridSpan="6">
                  <a:txBody>
                    <a:bodyPr/>
                    <a:lstStyle/>
                    <a:p>
                      <a:pPr algn="ctr"/>
                      <a:r>
                        <a:rPr lang="it-IT" sz="900" dirty="0">
                          <a:latin typeface="+mn-lt"/>
                        </a:rPr>
                        <a:t>Adeguamento SP 22 -Opere d’arte maggiore</a:t>
                      </a:r>
                    </a:p>
                  </a:txBody>
                  <a:tcPr anchor="ctr"/>
                </a:tc>
                <a:tc hMerge="1">
                  <a:txBody>
                    <a:bodyPr/>
                    <a:lstStyle/>
                    <a:p>
                      <a:pPr algn="ctr"/>
                      <a:endParaRPr lang="it-IT" sz="900" dirty="0">
                        <a:latin typeface="+mn-lt"/>
                      </a:endParaRPr>
                    </a:p>
                  </a:txBody>
                  <a:tcPr anchor="ctr"/>
                </a:tc>
                <a:tc hMerge="1">
                  <a:txBody>
                    <a:bodyPr/>
                    <a:lstStyle/>
                    <a:p>
                      <a:pPr algn="ctr"/>
                      <a:endParaRPr lang="it-IT" sz="900" dirty="0">
                        <a:latin typeface="+mn-lt"/>
                      </a:endParaRPr>
                    </a:p>
                  </a:txBody>
                  <a:tcPr anchor="ctr"/>
                </a:tc>
                <a:tc hMerge="1">
                  <a:txBody>
                    <a:bodyPr/>
                    <a:lstStyle/>
                    <a:p>
                      <a:pPr algn="ctr"/>
                      <a:endParaRPr lang="it-IT" sz="900" dirty="0">
                        <a:latin typeface="+mn-lt"/>
                      </a:endParaRPr>
                    </a:p>
                  </a:txBody>
                  <a:tcPr anchor="ctr"/>
                </a:tc>
                <a:tc hMerge="1">
                  <a:txBody>
                    <a:bodyPr/>
                    <a:lstStyle/>
                    <a:p>
                      <a:pPr algn="ctr"/>
                      <a:endParaRPr lang="it-IT" sz="900" dirty="0">
                        <a:latin typeface="+mn-lt"/>
                      </a:endParaRPr>
                    </a:p>
                  </a:txBody>
                  <a:tcPr anchor="ctr"/>
                </a:tc>
                <a:tc hMerge="1">
                  <a:txBody>
                    <a:bodyPr/>
                    <a:lstStyle/>
                    <a:p>
                      <a:pPr algn="ctr"/>
                      <a:endParaRPr lang="it-IT" sz="900" dirty="0">
                        <a:latin typeface="+mn-lt"/>
                      </a:endParaRPr>
                    </a:p>
                  </a:txBody>
                  <a:tcPr anchor="ctr"/>
                </a:tc>
                <a:extLst>
                  <a:ext uri="{0D108BD9-81ED-4DB2-BD59-A6C34878D82A}">
                    <a16:rowId xmlns:a16="http://schemas.microsoft.com/office/drawing/2014/main" val="2781230974"/>
                  </a:ext>
                </a:extLst>
              </a:tr>
              <a:tr h="435146">
                <a:tc>
                  <a:txBody>
                    <a:bodyPr/>
                    <a:lstStyle/>
                    <a:p>
                      <a:pPr algn="l"/>
                      <a:r>
                        <a:rPr lang="it-IT" sz="900" dirty="0">
                          <a:latin typeface="+mn-lt"/>
                        </a:rPr>
                        <a:t>Ponte sul </a:t>
                      </a:r>
                      <a:r>
                        <a:rPr lang="it-IT" sz="900" dirty="0" err="1">
                          <a:latin typeface="+mn-lt"/>
                        </a:rPr>
                        <a:t>Liteglia</a:t>
                      </a:r>
                      <a:endParaRPr lang="it-IT" sz="900" dirty="0">
                        <a:latin typeface="+mn-lt"/>
                      </a:endParaRPr>
                    </a:p>
                  </a:txBody>
                  <a:tcPr anchor="ctr"/>
                </a:tc>
                <a:tc>
                  <a:txBody>
                    <a:bodyPr/>
                    <a:lstStyle/>
                    <a:p>
                      <a:pPr algn="ctr"/>
                      <a:r>
                        <a:rPr lang="it-IT" sz="900" dirty="0">
                          <a:latin typeface="+mn-lt"/>
                        </a:rPr>
                        <a:t>1</a:t>
                      </a:r>
                    </a:p>
                  </a:txBody>
                  <a:tcPr anchor="ctr"/>
                </a:tc>
                <a:tc>
                  <a:txBody>
                    <a:bodyPr/>
                    <a:lstStyle/>
                    <a:p>
                      <a:pPr algn="ctr"/>
                      <a:r>
                        <a:rPr lang="it-IT" sz="900" dirty="0">
                          <a:latin typeface="+mn-lt"/>
                        </a:rPr>
                        <a:t>42</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0065A4"/>
                          </a:solidFill>
                          <a:effectLst/>
                          <a:uLnTx/>
                          <a:uFillTx/>
                          <a:latin typeface="+mn-lt"/>
                          <a:ea typeface="맑은 고딕"/>
                          <a:cs typeface="+mn-cs"/>
                        </a:rPr>
                        <a:t>acciaio-</a:t>
                      </a:r>
                      <a:r>
                        <a:rPr kumimoji="0" lang="it-IT" sz="900" b="0" i="0" u="none" strike="noStrike" kern="1200" cap="none" spc="0" normalizeH="0" baseline="0" noProof="0" dirty="0" err="1">
                          <a:ln>
                            <a:noFill/>
                          </a:ln>
                          <a:solidFill>
                            <a:srgbClr val="0065A4"/>
                          </a:solidFill>
                          <a:effectLst/>
                          <a:uLnTx/>
                          <a:uFillTx/>
                          <a:latin typeface="+mn-lt"/>
                          <a:ea typeface="맑은 고딕"/>
                          <a:cs typeface="+mn-cs"/>
                        </a:rPr>
                        <a:t>cls</a:t>
                      </a:r>
                      <a:endParaRPr kumimoji="0" lang="it-IT" sz="900" b="0" i="0" u="none" strike="noStrike" kern="1200" cap="none" spc="0" normalizeH="0" baseline="0" noProof="0" dirty="0">
                        <a:ln>
                          <a:noFill/>
                        </a:ln>
                        <a:solidFill>
                          <a:srgbClr val="0065A4"/>
                        </a:solidFill>
                        <a:effectLst/>
                        <a:uLnTx/>
                        <a:uFillTx/>
                        <a:latin typeface="+mn-lt"/>
                        <a:ea typeface="맑은 고딕"/>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0065A4"/>
                          </a:solidFill>
                          <a:effectLst/>
                          <a:uLnTx/>
                          <a:uFillTx/>
                          <a:latin typeface="+mn-lt"/>
                          <a:ea typeface="맑은 고딕"/>
                          <a:cs typeface="+mn-cs"/>
                        </a:rPr>
                        <a:t>Cassone </a:t>
                      </a:r>
                      <a:r>
                        <a:rPr kumimoji="0" lang="it-IT" sz="900" b="0" i="0" u="none" strike="noStrike" kern="1200" cap="none" spc="0" normalizeH="0" baseline="0" noProof="0" dirty="0" err="1">
                          <a:ln>
                            <a:noFill/>
                          </a:ln>
                          <a:solidFill>
                            <a:srgbClr val="0065A4"/>
                          </a:solidFill>
                          <a:effectLst/>
                          <a:uLnTx/>
                          <a:uFillTx/>
                          <a:latin typeface="+mn-lt"/>
                          <a:ea typeface="맑은 고딕"/>
                          <a:cs typeface="+mn-cs"/>
                        </a:rPr>
                        <a:t>torsiorigido</a:t>
                      </a:r>
                      <a:r>
                        <a:rPr kumimoji="0" lang="it-IT" sz="900" b="0" i="0" u="none" strike="noStrike" kern="1200" cap="none" spc="0" normalizeH="0" baseline="0" noProof="0" dirty="0">
                          <a:ln>
                            <a:noFill/>
                          </a:ln>
                          <a:solidFill>
                            <a:srgbClr val="0065A4"/>
                          </a:solidFill>
                          <a:effectLst/>
                          <a:uLnTx/>
                          <a:uFillTx/>
                          <a:latin typeface="+mn-lt"/>
                          <a:ea typeface="맑은 고딕"/>
                          <a:cs typeface="+mn-cs"/>
                        </a:rPr>
                        <a:t> </a:t>
                      </a:r>
                      <a:r>
                        <a:rPr kumimoji="0" lang="it-IT" sz="900" b="0" i="0" u="none" strike="noStrike" kern="1200" cap="none" spc="0" normalizeH="0" baseline="0" noProof="0" dirty="0" err="1">
                          <a:ln>
                            <a:noFill/>
                          </a:ln>
                          <a:solidFill>
                            <a:srgbClr val="0065A4"/>
                          </a:solidFill>
                          <a:effectLst/>
                          <a:uLnTx/>
                          <a:uFillTx/>
                          <a:latin typeface="+mn-lt"/>
                          <a:ea typeface="맑은 고딕"/>
                          <a:cs typeface="+mn-cs"/>
                        </a:rPr>
                        <a:t>bitrave</a:t>
                      </a:r>
                      <a:endParaRPr kumimoji="0" lang="it-IT" sz="900" b="0" i="0" u="none" strike="noStrike" kern="1200" cap="none" spc="0" normalizeH="0" baseline="0" noProof="0" dirty="0">
                        <a:ln>
                          <a:noFill/>
                        </a:ln>
                        <a:solidFill>
                          <a:srgbClr val="0065A4"/>
                        </a:solidFill>
                        <a:effectLst/>
                        <a:uLnTx/>
                        <a:uFillTx/>
                        <a:latin typeface="+mn-lt"/>
                        <a:ea typeface="맑은 고딕"/>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0065A4"/>
                          </a:solidFill>
                          <a:effectLst/>
                          <a:uLnTx/>
                          <a:uFillTx/>
                          <a:latin typeface="+mn-lt"/>
                          <a:ea typeface="맑은 고딕"/>
                          <a:cs typeface="+mn-cs"/>
                        </a:rPr>
                        <a:t>pali</a:t>
                      </a:r>
                    </a:p>
                  </a:txBody>
                  <a:tcPr anchor="ctr"/>
                </a:tc>
                <a:extLst>
                  <a:ext uri="{0D108BD9-81ED-4DB2-BD59-A6C34878D82A}">
                    <a16:rowId xmlns:a16="http://schemas.microsoft.com/office/drawing/2014/main" val="2501063207"/>
                  </a:ext>
                </a:extLst>
              </a:tr>
            </a:tbl>
          </a:graphicData>
        </a:graphic>
      </p:graphicFrame>
      <p:sp>
        <p:nvSpPr>
          <p:cNvPr id="10" name="CasellaDiTesto 9">
            <a:extLst>
              <a:ext uri="{FF2B5EF4-FFF2-40B4-BE49-F238E27FC236}">
                <a16:creationId xmlns:a16="http://schemas.microsoft.com/office/drawing/2014/main" id="{8CD9B7D1-2A85-4804-A9CA-F3CD79FC7F3C}"/>
              </a:ext>
            </a:extLst>
          </p:cNvPr>
          <p:cNvSpPr txBox="1"/>
          <p:nvPr/>
        </p:nvSpPr>
        <p:spPr>
          <a:xfrm>
            <a:off x="2566656" y="3400346"/>
            <a:ext cx="1266092" cy="287601"/>
          </a:xfrm>
          <a:prstGeom prst="rect">
            <a:avLst/>
          </a:prstGeom>
          <a:noFill/>
          <a:ln>
            <a:solidFill>
              <a:srgbClr val="FFFFFF"/>
            </a:solidFill>
          </a:ln>
        </p:spPr>
        <p:txBody>
          <a:bodyPr wrap="square" rtlCol="0">
            <a:spAutoFit/>
          </a:bodyPr>
          <a:lstStyle/>
          <a:p>
            <a:pPr algn="ctr"/>
            <a:r>
              <a:rPr lang="it-IT" sz="1200" b="1" dirty="0">
                <a:solidFill>
                  <a:schemeClr val="bg1"/>
                </a:solidFill>
              </a:rPr>
              <a:t>Ponte </a:t>
            </a:r>
            <a:r>
              <a:rPr lang="it-IT" sz="1200" b="1" dirty="0" err="1">
                <a:solidFill>
                  <a:schemeClr val="bg1"/>
                </a:solidFill>
              </a:rPr>
              <a:t>Liteglia</a:t>
            </a:r>
            <a:endParaRPr lang="it-IT" sz="1200" b="1" dirty="0">
              <a:solidFill>
                <a:schemeClr val="bg1"/>
              </a:solidFill>
            </a:endParaRPr>
          </a:p>
        </p:txBody>
      </p:sp>
      <p:cxnSp>
        <p:nvCxnSpPr>
          <p:cNvPr id="11" name="Connettore 2 10">
            <a:extLst>
              <a:ext uri="{FF2B5EF4-FFF2-40B4-BE49-F238E27FC236}">
                <a16:creationId xmlns:a16="http://schemas.microsoft.com/office/drawing/2014/main" id="{FBF6A82A-2E5B-4FB4-B1BB-F9095E681A27}"/>
              </a:ext>
            </a:extLst>
          </p:cNvPr>
          <p:cNvCxnSpPr>
            <a:cxnSpLocks/>
          </p:cNvCxnSpPr>
          <p:nvPr/>
        </p:nvCxnSpPr>
        <p:spPr>
          <a:xfrm flipV="1">
            <a:off x="3832748" y="3151778"/>
            <a:ext cx="387560" cy="265113"/>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09003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gnaposto contenuto 2">
            <a:extLst>
              <a:ext uri="{FF2B5EF4-FFF2-40B4-BE49-F238E27FC236}">
                <a16:creationId xmlns:a16="http://schemas.microsoft.com/office/drawing/2014/main" id="{1B522F23-A424-4F12-8F10-3D071758CE37}"/>
              </a:ext>
            </a:extLst>
          </p:cNvPr>
          <p:cNvSpPr txBox="1">
            <a:spLocks/>
          </p:cNvSpPr>
          <p:nvPr/>
        </p:nvSpPr>
        <p:spPr>
          <a:xfrm>
            <a:off x="452930" y="1662281"/>
            <a:ext cx="6345824" cy="229939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0"/>
              </a:spcBef>
              <a:spcAft>
                <a:spcPts val="800"/>
              </a:spcAft>
              <a:buFont typeface="+mj-lt"/>
              <a:buAutoNum type="arabicPeriod" startAt="4"/>
            </a:pPr>
            <a:r>
              <a:rPr lang="it-IT" sz="1200" b="1" dirty="0">
                <a:solidFill>
                  <a:srgbClr val="000000"/>
                </a:solidFill>
              </a:rPr>
              <a:t>L’adeguamento</a:t>
            </a:r>
            <a:r>
              <a:rPr lang="it-IT" sz="1200" b="1" dirty="0">
                <a:solidFill>
                  <a:srgbClr val="000000"/>
                </a:solidFill>
                <a:effectLst/>
                <a:ea typeface="Calibri" panose="020F0502020204030204" pitchFamily="34" charset="0"/>
                <a:cs typeface="Times New Roman" panose="02020603050405020304" pitchFamily="18" charset="0"/>
              </a:rPr>
              <a:t> </a:t>
            </a:r>
            <a:r>
              <a:rPr lang="it-IT" sz="1200" b="1" dirty="0">
                <a:solidFill>
                  <a:srgbClr val="000000"/>
                </a:solidFill>
              </a:rPr>
              <a:t>della Strada Provinciale SP22 </a:t>
            </a:r>
            <a:r>
              <a:rPr lang="it-IT" sz="1200" dirty="0">
                <a:solidFill>
                  <a:srgbClr val="000000"/>
                </a:solidFill>
              </a:rPr>
              <a:t>si estende dalla nuova stazione di esazione (in corrispondenza di </a:t>
            </a:r>
            <a:r>
              <a:rPr lang="it-IT" sz="1200" dirty="0" err="1">
                <a:solidFill>
                  <a:srgbClr val="000000"/>
                </a:solidFill>
              </a:rPr>
              <a:t>Aveno</a:t>
            </a:r>
            <a:r>
              <a:rPr lang="it-IT" sz="1200" dirty="0">
                <a:solidFill>
                  <a:srgbClr val="000000"/>
                </a:solidFill>
              </a:rPr>
              <a:t>) </a:t>
            </a:r>
            <a:r>
              <a:rPr lang="it-IT" sz="1200" b="0" dirty="0">
                <a:solidFill>
                  <a:srgbClr val="000000"/>
                </a:solidFill>
              </a:rPr>
              <a:t>fino a Moconesi, per uno sviluppo di circa 1665 m. </a:t>
            </a:r>
            <a:r>
              <a:rPr lang="it-IT" sz="1200" dirty="0">
                <a:solidFill>
                  <a:srgbClr val="000000"/>
                </a:solidFill>
              </a:rPr>
              <a:t>Tenuto conto della morfologia del terreno esistente (strada a </a:t>
            </a:r>
            <a:r>
              <a:rPr lang="it-IT" sz="1200" b="0" dirty="0">
                <a:solidFill>
                  <a:srgbClr val="000000"/>
                </a:solidFill>
              </a:rPr>
              <a:t>“mezza costa”</a:t>
            </a:r>
            <a:r>
              <a:rPr lang="it-IT" sz="1200" dirty="0">
                <a:solidFill>
                  <a:srgbClr val="000000"/>
                </a:solidFill>
              </a:rPr>
              <a:t>) e della presenza lato monte di fronti franosi, </a:t>
            </a:r>
            <a:r>
              <a:rPr lang="it-IT" sz="1200" b="1" dirty="0">
                <a:solidFill>
                  <a:srgbClr val="000000"/>
                </a:solidFill>
              </a:rPr>
              <a:t>l’ampliamento della sede stradale è lato valle</a:t>
            </a:r>
            <a:r>
              <a:rPr lang="it-IT" sz="1200" dirty="0">
                <a:solidFill>
                  <a:srgbClr val="000000"/>
                </a:solidFill>
              </a:rPr>
              <a:t>, puntando a mi</a:t>
            </a:r>
            <a:r>
              <a:rPr lang="it-IT" sz="1200" b="0" dirty="0">
                <a:solidFill>
                  <a:srgbClr val="000000"/>
                </a:solidFill>
              </a:rPr>
              <a:t>nimizzare l’impatto con il sistema antropico attraversato (viabilità e insediamenti abitativi ed industriali preesistenti) e l’occupazione di territorio, cercando di utilizzare quanto più possibile la sede stradale esistente. </a:t>
            </a:r>
          </a:p>
        </p:txBody>
      </p:sp>
      <p:sp>
        <p:nvSpPr>
          <p:cNvPr id="5" name="Segnaposto testo 8">
            <a:extLst>
              <a:ext uri="{FF2B5EF4-FFF2-40B4-BE49-F238E27FC236}">
                <a16:creationId xmlns:a16="http://schemas.microsoft.com/office/drawing/2014/main" id="{159E0B95-1159-47B6-93D4-DD9555426108}"/>
              </a:ext>
            </a:extLst>
          </p:cNvPr>
          <p:cNvSpPr txBox="1">
            <a:spLocks/>
          </p:cNvSpPr>
          <p:nvPr/>
        </p:nvSpPr>
        <p:spPr>
          <a:xfrm>
            <a:off x="1022382" y="1093910"/>
            <a:ext cx="5073618" cy="424056"/>
          </a:xfrm>
          <a:prstGeom prst="rect">
            <a:avLst/>
          </a:prstGeom>
        </p:spPr>
        <p:txBody>
          <a:bodyPr vert="horz" lIns="91440" tIns="45720" rIns="91440" bIns="45720" rtlCol="0" anchor="b">
            <a:no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Opere principali</a:t>
            </a:r>
          </a:p>
        </p:txBody>
      </p:sp>
      <p:sp>
        <p:nvSpPr>
          <p:cNvPr id="20" name="Titolo 6">
            <a:extLst>
              <a:ext uri="{FF2B5EF4-FFF2-40B4-BE49-F238E27FC236}">
                <a16:creationId xmlns:a16="http://schemas.microsoft.com/office/drawing/2014/main" id="{F4B312A5-AB17-4CA0-905E-D7BAFAB4FFD6}"/>
              </a:ext>
            </a:extLst>
          </p:cNvPr>
          <p:cNvSpPr>
            <a:spLocks noGrp="1"/>
          </p:cNvSpPr>
          <p:nvPr>
            <p:ph type="title"/>
          </p:nvPr>
        </p:nvSpPr>
        <p:spPr>
          <a:xfrm>
            <a:off x="264349" y="351248"/>
            <a:ext cx="10515600" cy="418646"/>
          </a:xfrm>
        </p:spPr>
        <p:txBody>
          <a:bodyPr>
            <a:normAutofit fontScale="90000"/>
          </a:bodyPr>
          <a:lstStyle/>
          <a:p>
            <a:r>
              <a:rPr lang="it-IT" sz="3200" b="1" dirty="0"/>
              <a:t>05. Descrizione dell’intervento</a:t>
            </a:r>
          </a:p>
        </p:txBody>
      </p:sp>
      <p:sp>
        <p:nvSpPr>
          <p:cNvPr id="21" name="Rettangolo 20">
            <a:extLst>
              <a:ext uri="{FF2B5EF4-FFF2-40B4-BE49-F238E27FC236}">
                <a16:creationId xmlns:a16="http://schemas.microsoft.com/office/drawing/2014/main" id="{DDEBEF42-FB5F-40AA-A6A7-5860EC8CB590}"/>
              </a:ext>
            </a:extLst>
          </p:cNvPr>
          <p:cNvSpPr/>
          <p:nvPr/>
        </p:nvSpPr>
        <p:spPr>
          <a:xfrm>
            <a:off x="264349" y="851028"/>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Ovale 18">
            <a:extLst>
              <a:ext uri="{FF2B5EF4-FFF2-40B4-BE49-F238E27FC236}">
                <a16:creationId xmlns:a16="http://schemas.microsoft.com/office/drawing/2014/main" id="{6BB602DF-0125-4A38-A55A-2ADA1E2894DB}"/>
              </a:ext>
            </a:extLst>
          </p:cNvPr>
          <p:cNvSpPr/>
          <p:nvPr/>
        </p:nvSpPr>
        <p:spPr>
          <a:xfrm>
            <a:off x="452931" y="1031322"/>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1030" name="Picture 6">
            <a:extLst>
              <a:ext uri="{FF2B5EF4-FFF2-40B4-BE49-F238E27FC236}">
                <a16:creationId xmlns:a16="http://schemas.microsoft.com/office/drawing/2014/main" id="{F1302650-6056-4774-85F8-B07F5B089F8E}"/>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493280" y="938321"/>
            <a:ext cx="463296" cy="463296"/>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uppo 2">
            <a:extLst>
              <a:ext uri="{FF2B5EF4-FFF2-40B4-BE49-F238E27FC236}">
                <a16:creationId xmlns:a16="http://schemas.microsoft.com/office/drawing/2014/main" id="{8F2622E5-965D-45F5-A925-67274B0491ED}"/>
              </a:ext>
            </a:extLst>
          </p:cNvPr>
          <p:cNvGrpSpPr/>
          <p:nvPr/>
        </p:nvGrpSpPr>
        <p:grpSpPr>
          <a:xfrm>
            <a:off x="569140" y="4577128"/>
            <a:ext cx="3102959" cy="1710920"/>
            <a:chOff x="7901186" y="1205920"/>
            <a:chExt cx="3169572" cy="1747649"/>
          </a:xfrm>
        </p:grpSpPr>
        <p:pic>
          <p:nvPicPr>
            <p:cNvPr id="14" name="Immagine 13">
              <a:extLst>
                <a:ext uri="{FF2B5EF4-FFF2-40B4-BE49-F238E27FC236}">
                  <a16:creationId xmlns:a16="http://schemas.microsoft.com/office/drawing/2014/main" id="{8C5C6EE3-AE39-4063-BA09-F67251534D70}"/>
                </a:ext>
              </a:extLst>
            </p:cNvPr>
            <p:cNvPicPr>
              <a:picLocks noChangeAspect="1"/>
            </p:cNvPicPr>
            <p:nvPr/>
          </p:nvPicPr>
          <p:blipFill rotWithShape="1">
            <a:blip r:embed="rId4"/>
            <a:srcRect l="12244" t="46201" r="12325" b="16207"/>
            <a:stretch/>
          </p:blipFill>
          <p:spPr bwMode="auto">
            <a:xfrm>
              <a:off x="7901186" y="1912096"/>
              <a:ext cx="3169572" cy="1041473"/>
            </a:xfrm>
            <a:prstGeom prst="rect">
              <a:avLst/>
            </a:prstGeom>
            <a:ln>
              <a:noFill/>
            </a:ln>
            <a:extLst>
              <a:ext uri="{53640926-AAD7-44D8-BBD7-CCE9431645EC}">
                <a14:shadowObscured xmlns:a14="http://schemas.microsoft.com/office/drawing/2010/main"/>
              </a:ext>
            </a:extLst>
          </p:spPr>
        </p:pic>
        <p:pic>
          <p:nvPicPr>
            <p:cNvPr id="8" name="Immagine 7">
              <a:extLst>
                <a:ext uri="{FF2B5EF4-FFF2-40B4-BE49-F238E27FC236}">
                  <a16:creationId xmlns:a16="http://schemas.microsoft.com/office/drawing/2014/main" id="{9395C77C-E7B6-4319-89EF-5824B4AA112F}"/>
                </a:ext>
              </a:extLst>
            </p:cNvPr>
            <p:cNvPicPr>
              <a:picLocks noChangeAspect="1"/>
            </p:cNvPicPr>
            <p:nvPr/>
          </p:nvPicPr>
          <p:blipFill rotWithShape="1">
            <a:blip r:embed="rId4"/>
            <a:srcRect l="12244" t="8441" r="12325" b="58075"/>
            <a:stretch/>
          </p:blipFill>
          <p:spPr bwMode="auto">
            <a:xfrm>
              <a:off x="7901186" y="1205920"/>
              <a:ext cx="3169572" cy="927680"/>
            </a:xfrm>
            <a:prstGeom prst="rect">
              <a:avLst/>
            </a:prstGeom>
            <a:ln>
              <a:noFill/>
            </a:ln>
            <a:extLst>
              <a:ext uri="{53640926-AAD7-44D8-BBD7-CCE9431645EC}">
                <a14:shadowObscured xmlns:a14="http://schemas.microsoft.com/office/drawing/2010/main"/>
              </a:ext>
            </a:extLst>
          </p:spPr>
        </p:pic>
      </p:grpSp>
      <p:pic>
        <p:nvPicPr>
          <p:cNvPr id="9" name="Immagine 8">
            <a:extLst>
              <a:ext uri="{FF2B5EF4-FFF2-40B4-BE49-F238E27FC236}">
                <a16:creationId xmlns:a16="http://schemas.microsoft.com/office/drawing/2014/main" id="{AA997D91-4E38-4B74-9128-CAAA4948EB5E}"/>
              </a:ext>
            </a:extLst>
          </p:cNvPr>
          <p:cNvPicPr>
            <a:picLocks noChangeAspect="1"/>
          </p:cNvPicPr>
          <p:nvPr/>
        </p:nvPicPr>
        <p:blipFill rotWithShape="1">
          <a:blip r:embed="rId5"/>
          <a:srcRect l="5080" t="11074" r="21019" b="2504"/>
          <a:stretch/>
        </p:blipFill>
        <p:spPr bwMode="auto">
          <a:xfrm>
            <a:off x="3781211" y="4137424"/>
            <a:ext cx="3003389" cy="2284804"/>
          </a:xfrm>
          <a:prstGeom prst="rect">
            <a:avLst/>
          </a:prstGeom>
          <a:ln>
            <a:noFill/>
          </a:ln>
          <a:extLst>
            <a:ext uri="{53640926-AAD7-44D8-BBD7-CCE9431645EC}">
              <a14:shadowObscured xmlns:a14="http://schemas.microsoft.com/office/drawing/2010/main"/>
            </a:ext>
          </a:extLst>
        </p:spPr>
      </p:pic>
      <p:sp>
        <p:nvSpPr>
          <p:cNvPr id="10" name="Segnaposto contenuto 2">
            <a:extLst>
              <a:ext uri="{FF2B5EF4-FFF2-40B4-BE49-F238E27FC236}">
                <a16:creationId xmlns:a16="http://schemas.microsoft.com/office/drawing/2014/main" id="{FAE91645-6027-4EC9-979C-DF054AA275AB}"/>
              </a:ext>
            </a:extLst>
          </p:cNvPr>
          <p:cNvSpPr txBox="1">
            <a:spLocks/>
          </p:cNvSpPr>
          <p:nvPr/>
        </p:nvSpPr>
        <p:spPr>
          <a:xfrm>
            <a:off x="722930" y="4015031"/>
            <a:ext cx="3738537" cy="296491"/>
          </a:xfrm>
          <a:prstGeom prst="rect">
            <a:avLst/>
          </a:prstGeom>
        </p:spPr>
        <p:txBody>
          <a:bodyPr vert="horz" wrap="square" lIns="91440" tIns="45720" rIns="91440" bIns="4572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spcBef>
                <a:spcPts val="0"/>
              </a:spcBef>
              <a:spcAft>
                <a:spcPts val="800"/>
              </a:spcAft>
              <a:buNone/>
            </a:pPr>
            <a:r>
              <a:rPr lang="it-IT" sz="1000" dirty="0">
                <a:solidFill>
                  <a:srgbClr val="000000"/>
                </a:solidFill>
                <a:effectLst/>
                <a:ea typeface="Calibri" panose="020F0502020204030204" pitchFamily="34" charset="0"/>
                <a:cs typeface="Times New Roman" panose="02020603050405020304" pitchFamily="18" charset="0"/>
              </a:rPr>
              <a:t>Sezione tipo attuale (sx) e di progetto (dx):</a:t>
            </a:r>
            <a:endParaRPr lang="it-IT" sz="1000" dirty="0">
              <a:solidFill>
                <a:srgbClr val="000000"/>
              </a:solidFill>
            </a:endParaRPr>
          </a:p>
        </p:txBody>
      </p:sp>
      <p:pic>
        <p:nvPicPr>
          <p:cNvPr id="17" name="Immagine 16">
            <a:extLst>
              <a:ext uri="{FF2B5EF4-FFF2-40B4-BE49-F238E27FC236}">
                <a16:creationId xmlns:a16="http://schemas.microsoft.com/office/drawing/2014/main" id="{C2125B4C-02B4-4343-893A-092CB9AC7749}"/>
              </a:ext>
            </a:extLst>
          </p:cNvPr>
          <p:cNvPicPr>
            <a:picLocks noChangeAspect="1"/>
          </p:cNvPicPr>
          <p:nvPr/>
        </p:nvPicPr>
        <p:blipFill rotWithShape="1">
          <a:blip r:embed="rId6"/>
          <a:srcRect l="2903" t="6068" r="22458" b="1587"/>
          <a:stretch/>
        </p:blipFill>
        <p:spPr>
          <a:xfrm>
            <a:off x="6988567" y="1802956"/>
            <a:ext cx="4808418" cy="4547601"/>
          </a:xfrm>
          <a:prstGeom prst="rect">
            <a:avLst/>
          </a:prstGeom>
          <a:ln>
            <a:solidFill>
              <a:schemeClr val="accent6">
                <a:lumMod val="10000"/>
              </a:schemeClr>
            </a:solidFill>
          </a:ln>
        </p:spPr>
      </p:pic>
      <p:grpSp>
        <p:nvGrpSpPr>
          <p:cNvPr id="12" name="Gruppo 11">
            <a:extLst>
              <a:ext uri="{FF2B5EF4-FFF2-40B4-BE49-F238E27FC236}">
                <a16:creationId xmlns:a16="http://schemas.microsoft.com/office/drawing/2014/main" id="{835B33ED-A4B3-43BD-BBFB-5F92B8A0B3A2}"/>
              </a:ext>
            </a:extLst>
          </p:cNvPr>
          <p:cNvGrpSpPr/>
          <p:nvPr/>
        </p:nvGrpSpPr>
        <p:grpSpPr>
          <a:xfrm>
            <a:off x="9842881" y="5860678"/>
            <a:ext cx="1954103" cy="492443"/>
            <a:chOff x="9842881" y="5830534"/>
            <a:chExt cx="1954103" cy="492443"/>
          </a:xfrm>
        </p:grpSpPr>
        <p:sp>
          <p:nvSpPr>
            <p:cNvPr id="2" name="CasellaDiTesto 1">
              <a:extLst>
                <a:ext uri="{FF2B5EF4-FFF2-40B4-BE49-F238E27FC236}">
                  <a16:creationId xmlns:a16="http://schemas.microsoft.com/office/drawing/2014/main" id="{FE11EE41-FE01-4FBF-89CD-2BA9A4B5D2C8}"/>
                </a:ext>
              </a:extLst>
            </p:cNvPr>
            <p:cNvSpPr txBox="1"/>
            <p:nvPr/>
          </p:nvSpPr>
          <p:spPr>
            <a:xfrm>
              <a:off x="9842881" y="5830534"/>
              <a:ext cx="1954103" cy="492443"/>
            </a:xfrm>
            <a:prstGeom prst="rect">
              <a:avLst/>
            </a:prstGeom>
            <a:solidFill>
              <a:schemeClr val="bg1"/>
            </a:solidFill>
            <a:ln>
              <a:solidFill>
                <a:schemeClr val="accent6">
                  <a:lumMod val="10000"/>
                </a:schemeClr>
              </a:solidFill>
            </a:ln>
          </p:spPr>
          <p:txBody>
            <a:bodyPr wrap="square" rtlCol="0" anchor="ctr" anchorCtr="0">
              <a:spAutoFit/>
            </a:bodyPr>
            <a:lstStyle/>
            <a:p>
              <a:r>
                <a:rPr lang="it-IT" sz="1000" dirty="0">
                  <a:solidFill>
                    <a:schemeClr val="accent6">
                      <a:lumMod val="10000"/>
                    </a:schemeClr>
                  </a:solidFill>
                </a:rPr>
                <a:t>              Tracciato Esistente</a:t>
              </a:r>
            </a:p>
            <a:p>
              <a:endParaRPr lang="it-IT" sz="600" dirty="0">
                <a:solidFill>
                  <a:schemeClr val="accent6">
                    <a:lumMod val="10000"/>
                  </a:schemeClr>
                </a:solidFill>
              </a:endParaRPr>
            </a:p>
            <a:p>
              <a:r>
                <a:rPr lang="it-IT" sz="1000" dirty="0">
                  <a:solidFill>
                    <a:schemeClr val="accent6">
                      <a:lumMod val="10000"/>
                    </a:schemeClr>
                  </a:solidFill>
                </a:rPr>
                <a:t>              Tracciato di progetto</a:t>
              </a:r>
            </a:p>
          </p:txBody>
        </p:sp>
        <p:cxnSp>
          <p:nvCxnSpPr>
            <p:cNvPr id="7" name="Connettore diritto 6">
              <a:extLst>
                <a:ext uri="{FF2B5EF4-FFF2-40B4-BE49-F238E27FC236}">
                  <a16:creationId xmlns:a16="http://schemas.microsoft.com/office/drawing/2014/main" id="{0ACE5C00-32F6-4209-A57C-E67B3F9FE236}"/>
                </a:ext>
              </a:extLst>
            </p:cNvPr>
            <p:cNvCxnSpPr/>
            <p:nvPr/>
          </p:nvCxnSpPr>
          <p:spPr>
            <a:xfrm>
              <a:off x="9963456" y="5928527"/>
              <a:ext cx="356196" cy="0"/>
            </a:xfrm>
            <a:prstGeom prst="line">
              <a:avLst/>
            </a:prstGeom>
            <a:ln w="28575">
              <a:solidFill>
                <a:srgbClr val="D52727"/>
              </a:solidFill>
            </a:ln>
          </p:spPr>
          <p:style>
            <a:lnRef idx="1">
              <a:schemeClr val="accent1"/>
            </a:lnRef>
            <a:fillRef idx="0">
              <a:schemeClr val="accent1"/>
            </a:fillRef>
            <a:effectRef idx="0">
              <a:schemeClr val="accent1"/>
            </a:effectRef>
            <a:fontRef idx="minor">
              <a:schemeClr val="tx1"/>
            </a:fontRef>
          </p:style>
        </p:cxnSp>
        <p:cxnSp>
          <p:nvCxnSpPr>
            <p:cNvPr id="22" name="Connettore diritto 21">
              <a:extLst>
                <a:ext uri="{FF2B5EF4-FFF2-40B4-BE49-F238E27FC236}">
                  <a16:creationId xmlns:a16="http://schemas.microsoft.com/office/drawing/2014/main" id="{C517CF76-D484-4F52-AFD3-2385EEE87253}"/>
                </a:ext>
              </a:extLst>
            </p:cNvPr>
            <p:cNvCxnSpPr/>
            <p:nvPr/>
          </p:nvCxnSpPr>
          <p:spPr>
            <a:xfrm>
              <a:off x="9963456" y="6211556"/>
              <a:ext cx="356196" cy="0"/>
            </a:xfrm>
            <a:prstGeom prst="line">
              <a:avLst/>
            </a:prstGeom>
            <a:ln w="28575">
              <a:solidFill>
                <a:schemeClr val="accent6">
                  <a:lumMod val="25000"/>
                </a:schemeClr>
              </a:solidFill>
            </a:ln>
          </p:spPr>
          <p:style>
            <a:lnRef idx="1">
              <a:schemeClr val="accent1"/>
            </a:lnRef>
            <a:fillRef idx="0">
              <a:schemeClr val="accent1"/>
            </a:fillRef>
            <a:effectRef idx="0">
              <a:schemeClr val="accent1"/>
            </a:effectRef>
            <a:fontRef idx="minor">
              <a:schemeClr val="tx1"/>
            </a:fontRef>
          </p:style>
        </p:cxnSp>
      </p:grpSp>
      <p:sp>
        <p:nvSpPr>
          <p:cNvPr id="4" name="CasellaDiTesto 3">
            <a:extLst>
              <a:ext uri="{FF2B5EF4-FFF2-40B4-BE49-F238E27FC236}">
                <a16:creationId xmlns:a16="http://schemas.microsoft.com/office/drawing/2014/main" id="{21649350-A6C3-48C4-AFD0-EAAB6903E8D3}"/>
              </a:ext>
            </a:extLst>
          </p:cNvPr>
          <p:cNvSpPr txBox="1"/>
          <p:nvPr/>
        </p:nvSpPr>
        <p:spPr>
          <a:xfrm>
            <a:off x="8523240" y="5763788"/>
            <a:ext cx="788460" cy="211203"/>
          </a:xfrm>
          <a:prstGeom prst="rect">
            <a:avLst/>
          </a:prstGeom>
          <a:noFill/>
          <a:ln>
            <a:solidFill>
              <a:schemeClr val="accent6">
                <a:lumMod val="10000"/>
              </a:schemeClr>
            </a:solidFill>
          </a:ln>
        </p:spPr>
        <p:txBody>
          <a:bodyPr wrap="square" lIns="36000" tIns="36000" rIns="36000" bIns="36000" rtlCol="0">
            <a:spAutoFit/>
          </a:bodyPr>
          <a:lstStyle/>
          <a:p>
            <a:pPr algn="ctr"/>
            <a:r>
              <a:rPr lang="it-IT" sz="900" b="1" dirty="0">
                <a:solidFill>
                  <a:schemeClr val="accent6">
                    <a:lumMod val="10000"/>
                  </a:schemeClr>
                </a:solidFill>
              </a:rPr>
              <a:t>Ponte </a:t>
            </a:r>
            <a:r>
              <a:rPr lang="it-IT" sz="900" b="1" dirty="0" err="1">
                <a:solidFill>
                  <a:schemeClr val="accent6">
                    <a:lumMod val="10000"/>
                  </a:schemeClr>
                </a:solidFill>
              </a:rPr>
              <a:t>croso</a:t>
            </a:r>
            <a:endParaRPr lang="it-IT" sz="900" b="1" dirty="0">
              <a:solidFill>
                <a:schemeClr val="accent6">
                  <a:lumMod val="10000"/>
                </a:schemeClr>
              </a:solidFill>
            </a:endParaRPr>
          </a:p>
        </p:txBody>
      </p:sp>
      <p:cxnSp>
        <p:nvCxnSpPr>
          <p:cNvPr id="13" name="Connettore 2 12">
            <a:extLst>
              <a:ext uri="{FF2B5EF4-FFF2-40B4-BE49-F238E27FC236}">
                <a16:creationId xmlns:a16="http://schemas.microsoft.com/office/drawing/2014/main" id="{75841929-0592-41B2-A8B7-E48F346B315D}"/>
              </a:ext>
            </a:extLst>
          </p:cNvPr>
          <p:cNvCxnSpPr>
            <a:cxnSpLocks/>
          </p:cNvCxnSpPr>
          <p:nvPr/>
        </p:nvCxnSpPr>
        <p:spPr>
          <a:xfrm flipH="1" flipV="1">
            <a:off x="8201558" y="5723524"/>
            <a:ext cx="321682" cy="137154"/>
          </a:xfrm>
          <a:prstGeom prst="straightConnector1">
            <a:avLst/>
          </a:prstGeom>
          <a:ln w="9525">
            <a:solidFill>
              <a:schemeClr val="accent6">
                <a:lumMod val="1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CasellaDiTesto 22">
            <a:extLst>
              <a:ext uri="{FF2B5EF4-FFF2-40B4-BE49-F238E27FC236}">
                <a16:creationId xmlns:a16="http://schemas.microsoft.com/office/drawing/2014/main" id="{11D0FD6C-ED55-4C18-873E-CE865B21496C}"/>
              </a:ext>
            </a:extLst>
          </p:cNvPr>
          <p:cNvSpPr txBox="1"/>
          <p:nvPr/>
        </p:nvSpPr>
        <p:spPr>
          <a:xfrm>
            <a:off x="8849388" y="5188103"/>
            <a:ext cx="1149050" cy="211203"/>
          </a:xfrm>
          <a:prstGeom prst="rect">
            <a:avLst/>
          </a:prstGeom>
          <a:noFill/>
          <a:ln>
            <a:solidFill>
              <a:schemeClr val="accent6">
                <a:lumMod val="10000"/>
              </a:schemeClr>
            </a:solidFill>
          </a:ln>
        </p:spPr>
        <p:txBody>
          <a:bodyPr wrap="square" lIns="36000" tIns="36000" rIns="36000" bIns="36000" rtlCol="0">
            <a:spAutoFit/>
          </a:bodyPr>
          <a:lstStyle/>
          <a:p>
            <a:pPr algn="ctr"/>
            <a:r>
              <a:rPr lang="it-IT" sz="900" b="1" dirty="0">
                <a:solidFill>
                  <a:schemeClr val="accent6">
                    <a:lumMod val="10000"/>
                  </a:schemeClr>
                </a:solidFill>
              </a:rPr>
              <a:t>Viadotto </a:t>
            </a:r>
            <a:r>
              <a:rPr lang="it-IT" sz="900" b="1" dirty="0" err="1">
                <a:solidFill>
                  <a:schemeClr val="accent6">
                    <a:lumMod val="10000"/>
                  </a:schemeClr>
                </a:solidFill>
              </a:rPr>
              <a:t>Tongusci</a:t>
            </a:r>
            <a:endParaRPr lang="it-IT" sz="900" b="1" dirty="0">
              <a:solidFill>
                <a:schemeClr val="accent6">
                  <a:lumMod val="10000"/>
                </a:schemeClr>
              </a:solidFill>
            </a:endParaRPr>
          </a:p>
        </p:txBody>
      </p:sp>
      <p:cxnSp>
        <p:nvCxnSpPr>
          <p:cNvPr id="24" name="Connettore 2 23">
            <a:extLst>
              <a:ext uri="{FF2B5EF4-FFF2-40B4-BE49-F238E27FC236}">
                <a16:creationId xmlns:a16="http://schemas.microsoft.com/office/drawing/2014/main" id="{89A38815-AA45-484F-96AC-0383DB2EFBC9}"/>
              </a:ext>
            </a:extLst>
          </p:cNvPr>
          <p:cNvCxnSpPr>
            <a:cxnSpLocks/>
          </p:cNvCxnSpPr>
          <p:nvPr/>
        </p:nvCxnSpPr>
        <p:spPr>
          <a:xfrm flipH="1" flipV="1">
            <a:off x="8527706" y="5158046"/>
            <a:ext cx="321682" cy="137154"/>
          </a:xfrm>
          <a:prstGeom prst="straightConnector1">
            <a:avLst/>
          </a:prstGeom>
          <a:ln w="9525">
            <a:solidFill>
              <a:schemeClr val="accent6">
                <a:lumMod val="1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 name="CasellaDiTesto 24">
            <a:extLst>
              <a:ext uri="{FF2B5EF4-FFF2-40B4-BE49-F238E27FC236}">
                <a16:creationId xmlns:a16="http://schemas.microsoft.com/office/drawing/2014/main" id="{1A8CB2FC-A337-429A-A46A-146C1F05DB8A}"/>
              </a:ext>
            </a:extLst>
          </p:cNvPr>
          <p:cNvSpPr txBox="1"/>
          <p:nvPr/>
        </p:nvSpPr>
        <p:spPr>
          <a:xfrm>
            <a:off x="9526642" y="4690038"/>
            <a:ext cx="1024127" cy="211203"/>
          </a:xfrm>
          <a:prstGeom prst="rect">
            <a:avLst/>
          </a:prstGeom>
          <a:noFill/>
          <a:ln>
            <a:solidFill>
              <a:schemeClr val="accent6">
                <a:lumMod val="10000"/>
              </a:schemeClr>
            </a:solidFill>
          </a:ln>
        </p:spPr>
        <p:txBody>
          <a:bodyPr wrap="square" lIns="36000" tIns="36000" rIns="36000" bIns="36000" rtlCol="0">
            <a:spAutoFit/>
          </a:bodyPr>
          <a:lstStyle/>
          <a:p>
            <a:pPr algn="ctr"/>
            <a:r>
              <a:rPr lang="it-IT" sz="900" b="1" dirty="0">
                <a:solidFill>
                  <a:schemeClr val="accent6">
                    <a:lumMod val="10000"/>
                  </a:schemeClr>
                </a:solidFill>
              </a:rPr>
              <a:t>Ponte Garbarini</a:t>
            </a:r>
          </a:p>
        </p:txBody>
      </p:sp>
      <p:cxnSp>
        <p:nvCxnSpPr>
          <p:cNvPr id="26" name="Connettore 2 25">
            <a:extLst>
              <a:ext uri="{FF2B5EF4-FFF2-40B4-BE49-F238E27FC236}">
                <a16:creationId xmlns:a16="http://schemas.microsoft.com/office/drawing/2014/main" id="{2487EE61-C443-4A8D-A344-4A3331F2474A}"/>
              </a:ext>
            </a:extLst>
          </p:cNvPr>
          <p:cNvCxnSpPr>
            <a:cxnSpLocks/>
          </p:cNvCxnSpPr>
          <p:nvPr/>
        </p:nvCxnSpPr>
        <p:spPr>
          <a:xfrm flipH="1" flipV="1">
            <a:off x="9204960" y="4652944"/>
            <a:ext cx="321682" cy="137154"/>
          </a:xfrm>
          <a:prstGeom prst="straightConnector1">
            <a:avLst/>
          </a:prstGeom>
          <a:ln w="9525">
            <a:solidFill>
              <a:schemeClr val="accent6">
                <a:lumMod val="1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 name="CasellaDiTesto 29">
            <a:extLst>
              <a:ext uri="{FF2B5EF4-FFF2-40B4-BE49-F238E27FC236}">
                <a16:creationId xmlns:a16="http://schemas.microsoft.com/office/drawing/2014/main" id="{A1F6B473-6135-430E-907B-6CC1D70D3813}"/>
              </a:ext>
            </a:extLst>
          </p:cNvPr>
          <p:cNvSpPr txBox="1"/>
          <p:nvPr/>
        </p:nvSpPr>
        <p:spPr>
          <a:xfrm>
            <a:off x="9898777" y="1969553"/>
            <a:ext cx="1024126" cy="211203"/>
          </a:xfrm>
          <a:prstGeom prst="rect">
            <a:avLst/>
          </a:prstGeom>
          <a:noFill/>
          <a:ln>
            <a:solidFill>
              <a:schemeClr val="accent6">
                <a:lumMod val="10000"/>
              </a:schemeClr>
            </a:solidFill>
          </a:ln>
        </p:spPr>
        <p:txBody>
          <a:bodyPr wrap="square" lIns="36000" tIns="36000" rIns="36000" bIns="36000" rtlCol="0">
            <a:spAutoFit/>
          </a:bodyPr>
          <a:lstStyle/>
          <a:p>
            <a:pPr algn="ctr"/>
            <a:r>
              <a:rPr lang="it-IT" sz="900" b="1" dirty="0">
                <a:solidFill>
                  <a:schemeClr val="accent6">
                    <a:lumMod val="10000"/>
                  </a:schemeClr>
                </a:solidFill>
              </a:rPr>
              <a:t>Ponte Lavagna</a:t>
            </a:r>
          </a:p>
        </p:txBody>
      </p:sp>
      <p:cxnSp>
        <p:nvCxnSpPr>
          <p:cNvPr id="31" name="Connettore 2 30">
            <a:extLst>
              <a:ext uri="{FF2B5EF4-FFF2-40B4-BE49-F238E27FC236}">
                <a16:creationId xmlns:a16="http://schemas.microsoft.com/office/drawing/2014/main" id="{737E9DBD-6F8D-47B3-AB72-568A338443F1}"/>
              </a:ext>
            </a:extLst>
          </p:cNvPr>
          <p:cNvCxnSpPr>
            <a:cxnSpLocks/>
            <a:stCxn id="30" idx="3"/>
          </p:cNvCxnSpPr>
          <p:nvPr/>
        </p:nvCxnSpPr>
        <p:spPr>
          <a:xfrm>
            <a:off x="10922903" y="2075155"/>
            <a:ext cx="299279" cy="105601"/>
          </a:xfrm>
          <a:prstGeom prst="straightConnector1">
            <a:avLst/>
          </a:prstGeom>
          <a:ln w="9525">
            <a:solidFill>
              <a:schemeClr val="accent6">
                <a:lumMod val="1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97853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8">
            <a:extLst>
              <a:ext uri="{FF2B5EF4-FFF2-40B4-BE49-F238E27FC236}">
                <a16:creationId xmlns:a16="http://schemas.microsoft.com/office/drawing/2014/main" id="{159E0B95-1159-47B6-93D4-DD9555426108}"/>
              </a:ext>
            </a:extLst>
          </p:cNvPr>
          <p:cNvSpPr txBox="1">
            <a:spLocks/>
          </p:cNvSpPr>
          <p:nvPr/>
        </p:nvSpPr>
        <p:spPr>
          <a:xfrm>
            <a:off x="1022382" y="1093910"/>
            <a:ext cx="5073618" cy="424056"/>
          </a:xfrm>
          <a:prstGeom prst="rect">
            <a:avLst/>
          </a:prstGeom>
        </p:spPr>
        <p:txBody>
          <a:bodyPr vert="horz" lIns="91440" tIns="45720" rIns="91440" bIns="45720" rtlCol="0" anchor="b">
            <a:no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Opere principali</a:t>
            </a:r>
          </a:p>
        </p:txBody>
      </p:sp>
      <p:sp>
        <p:nvSpPr>
          <p:cNvPr id="6" name="Segnaposto contenuto 2">
            <a:extLst>
              <a:ext uri="{FF2B5EF4-FFF2-40B4-BE49-F238E27FC236}">
                <a16:creationId xmlns:a16="http://schemas.microsoft.com/office/drawing/2014/main" id="{1B522F23-A424-4F12-8F10-3D071758CE37}"/>
              </a:ext>
            </a:extLst>
          </p:cNvPr>
          <p:cNvSpPr txBox="1">
            <a:spLocks/>
          </p:cNvSpPr>
          <p:nvPr/>
        </p:nvSpPr>
        <p:spPr>
          <a:xfrm>
            <a:off x="452931" y="1662282"/>
            <a:ext cx="11361117" cy="42405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buFont typeface="+mj-lt"/>
              <a:buAutoNum type="arabicPeriod" startAt="4"/>
            </a:pPr>
            <a:r>
              <a:rPr lang="it-IT" sz="1200" b="1" dirty="0">
                <a:solidFill>
                  <a:srgbClr val="000000"/>
                </a:solidFill>
              </a:rPr>
              <a:t>Adeguamento SP22 e intersezione con SP225:</a:t>
            </a:r>
            <a:endParaRPr lang="it-IT" sz="1200" dirty="0">
              <a:solidFill>
                <a:srgbClr val="000000"/>
              </a:solidFill>
            </a:endParaRPr>
          </a:p>
        </p:txBody>
      </p:sp>
      <p:sp>
        <p:nvSpPr>
          <p:cNvPr id="20" name="Titolo 6">
            <a:extLst>
              <a:ext uri="{FF2B5EF4-FFF2-40B4-BE49-F238E27FC236}">
                <a16:creationId xmlns:a16="http://schemas.microsoft.com/office/drawing/2014/main" id="{F4B312A5-AB17-4CA0-905E-D7BAFAB4FFD6}"/>
              </a:ext>
            </a:extLst>
          </p:cNvPr>
          <p:cNvSpPr>
            <a:spLocks noGrp="1"/>
          </p:cNvSpPr>
          <p:nvPr>
            <p:ph type="title"/>
          </p:nvPr>
        </p:nvSpPr>
        <p:spPr>
          <a:xfrm>
            <a:off x="264349" y="366297"/>
            <a:ext cx="10515600" cy="418646"/>
          </a:xfrm>
        </p:spPr>
        <p:txBody>
          <a:bodyPr>
            <a:normAutofit fontScale="90000"/>
          </a:bodyPr>
          <a:lstStyle/>
          <a:p>
            <a:r>
              <a:rPr lang="it-IT" sz="3200" b="1" dirty="0"/>
              <a:t>05. Descrizione dell’intervento</a:t>
            </a:r>
          </a:p>
        </p:txBody>
      </p:sp>
      <p:sp>
        <p:nvSpPr>
          <p:cNvPr id="21" name="Rettangolo 20">
            <a:extLst>
              <a:ext uri="{FF2B5EF4-FFF2-40B4-BE49-F238E27FC236}">
                <a16:creationId xmlns:a16="http://schemas.microsoft.com/office/drawing/2014/main" id="{DDEBEF42-FB5F-40AA-A6A7-5860EC8CB590}"/>
              </a:ext>
            </a:extLst>
          </p:cNvPr>
          <p:cNvSpPr/>
          <p:nvPr/>
        </p:nvSpPr>
        <p:spPr>
          <a:xfrm>
            <a:off x="264349" y="851028"/>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Ovale 18">
            <a:extLst>
              <a:ext uri="{FF2B5EF4-FFF2-40B4-BE49-F238E27FC236}">
                <a16:creationId xmlns:a16="http://schemas.microsoft.com/office/drawing/2014/main" id="{6BB602DF-0125-4A38-A55A-2ADA1E2894DB}"/>
              </a:ext>
            </a:extLst>
          </p:cNvPr>
          <p:cNvSpPr/>
          <p:nvPr/>
        </p:nvSpPr>
        <p:spPr>
          <a:xfrm>
            <a:off x="452931" y="1031322"/>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1030" name="Picture 6">
            <a:extLst>
              <a:ext uri="{FF2B5EF4-FFF2-40B4-BE49-F238E27FC236}">
                <a16:creationId xmlns:a16="http://schemas.microsoft.com/office/drawing/2014/main" id="{F1302650-6056-4774-85F8-B07F5B089F8E}"/>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493280" y="938321"/>
            <a:ext cx="463296" cy="463296"/>
          </a:xfrm>
          <a:prstGeom prst="rect">
            <a:avLst/>
          </a:prstGeom>
          <a:noFill/>
          <a:extLst>
            <a:ext uri="{909E8E84-426E-40DD-AFC4-6F175D3DCCD1}">
              <a14:hiddenFill xmlns:a14="http://schemas.microsoft.com/office/drawing/2010/main">
                <a:solidFill>
                  <a:srgbClr val="FFFFFF"/>
                </a:solidFill>
              </a14:hiddenFill>
            </a:ext>
          </a:extLst>
        </p:spPr>
      </p:pic>
      <p:pic>
        <p:nvPicPr>
          <p:cNvPr id="8" name="Immagine 7">
            <a:extLst>
              <a:ext uri="{FF2B5EF4-FFF2-40B4-BE49-F238E27FC236}">
                <a16:creationId xmlns:a16="http://schemas.microsoft.com/office/drawing/2014/main" id="{4334C397-6FA4-4E43-8835-A1143463FB27}"/>
              </a:ext>
            </a:extLst>
          </p:cNvPr>
          <p:cNvPicPr>
            <a:picLocks noChangeAspect="1"/>
          </p:cNvPicPr>
          <p:nvPr/>
        </p:nvPicPr>
        <p:blipFill rotWithShape="1">
          <a:blip r:embed="rId4"/>
          <a:srcRect t="30084" r="865" b="3561"/>
          <a:stretch/>
        </p:blipFill>
        <p:spPr>
          <a:xfrm>
            <a:off x="525468" y="2056521"/>
            <a:ext cx="11227249" cy="4184026"/>
          </a:xfrm>
          <a:prstGeom prst="rect">
            <a:avLst/>
          </a:prstGeom>
        </p:spPr>
      </p:pic>
    </p:spTree>
    <p:extLst>
      <p:ext uri="{BB962C8B-B14F-4D97-AF65-F5344CB8AC3E}">
        <p14:creationId xmlns:p14="http://schemas.microsoft.com/office/powerpoint/2010/main" val="38574337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965F41DE-43F4-427B-BA0C-1C99BF735BED}"/>
              </a:ext>
            </a:extLst>
          </p:cNvPr>
          <p:cNvPicPr>
            <a:picLocks noChangeAspect="1"/>
          </p:cNvPicPr>
          <p:nvPr/>
        </p:nvPicPr>
        <p:blipFill rotWithShape="1">
          <a:blip r:embed="rId3"/>
          <a:srcRect t="10248" r="2315"/>
          <a:stretch/>
        </p:blipFill>
        <p:spPr>
          <a:xfrm>
            <a:off x="329077" y="3535544"/>
            <a:ext cx="5760694" cy="2689365"/>
          </a:xfrm>
          <a:prstGeom prst="rect">
            <a:avLst/>
          </a:prstGeom>
        </p:spPr>
      </p:pic>
      <p:sp>
        <p:nvSpPr>
          <p:cNvPr id="5" name="Segnaposto testo 8">
            <a:extLst>
              <a:ext uri="{FF2B5EF4-FFF2-40B4-BE49-F238E27FC236}">
                <a16:creationId xmlns:a16="http://schemas.microsoft.com/office/drawing/2014/main" id="{159E0B95-1159-47B6-93D4-DD9555426108}"/>
              </a:ext>
            </a:extLst>
          </p:cNvPr>
          <p:cNvSpPr txBox="1">
            <a:spLocks/>
          </p:cNvSpPr>
          <p:nvPr/>
        </p:nvSpPr>
        <p:spPr>
          <a:xfrm>
            <a:off x="1022382" y="1093910"/>
            <a:ext cx="5073618" cy="424056"/>
          </a:xfrm>
          <a:prstGeom prst="rect">
            <a:avLst/>
          </a:prstGeom>
        </p:spPr>
        <p:txBody>
          <a:bodyPr vert="horz" lIns="91440" tIns="45720" rIns="91440" bIns="45720" rtlCol="0" anchor="b">
            <a:no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Opere principali</a:t>
            </a:r>
          </a:p>
        </p:txBody>
      </p:sp>
      <p:sp>
        <p:nvSpPr>
          <p:cNvPr id="6" name="Segnaposto contenuto 2">
            <a:extLst>
              <a:ext uri="{FF2B5EF4-FFF2-40B4-BE49-F238E27FC236}">
                <a16:creationId xmlns:a16="http://schemas.microsoft.com/office/drawing/2014/main" id="{1B522F23-A424-4F12-8F10-3D071758CE37}"/>
              </a:ext>
            </a:extLst>
          </p:cNvPr>
          <p:cNvSpPr txBox="1">
            <a:spLocks/>
          </p:cNvSpPr>
          <p:nvPr/>
        </p:nvSpPr>
        <p:spPr>
          <a:xfrm>
            <a:off x="452931" y="1662280"/>
            <a:ext cx="11368505" cy="126206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spcBef>
                <a:spcPts val="500"/>
              </a:spcBef>
              <a:buNone/>
            </a:pPr>
            <a:r>
              <a:rPr lang="it-IT" sz="1200" dirty="0">
                <a:solidFill>
                  <a:schemeClr val="accent6">
                    <a:lumMod val="10000"/>
                  </a:schemeClr>
                </a:solidFill>
              </a:rPr>
              <a:t>Nell’ambito dell’intervento di adeguamento della SP 22 è prevista la realizzazione di 4 opere d’arte maggiore, tra cui la più rilevante è il </a:t>
            </a:r>
            <a:r>
              <a:rPr lang="it-IT" sz="1200" b="1" dirty="0">
                <a:solidFill>
                  <a:schemeClr val="accent6">
                    <a:lumMod val="10000"/>
                  </a:schemeClr>
                </a:solidFill>
              </a:rPr>
              <a:t>Ponte sul Lavagna</a:t>
            </a:r>
            <a:r>
              <a:rPr lang="it-IT" sz="1200" dirty="0">
                <a:solidFill>
                  <a:schemeClr val="accent6">
                    <a:lumMod val="10000"/>
                  </a:schemeClr>
                </a:solidFill>
              </a:rPr>
              <a:t>. </a:t>
            </a:r>
          </a:p>
          <a:p>
            <a:pPr marL="0" indent="0" algn="just">
              <a:lnSpc>
                <a:spcPct val="150000"/>
              </a:lnSpc>
              <a:spcBef>
                <a:spcPts val="500"/>
              </a:spcBef>
              <a:buNone/>
            </a:pPr>
            <a:r>
              <a:rPr lang="it-IT" sz="1200" dirty="0">
                <a:solidFill>
                  <a:schemeClr val="accent6">
                    <a:lumMod val="10000"/>
                  </a:schemeClr>
                </a:solidFill>
              </a:rPr>
              <a:t>Il ponte, composto da 3 campate (di luce: 40, 65 e  40 m) è caratterizzato da uno schema di trave continua. </a:t>
            </a:r>
            <a:r>
              <a:rPr lang="it-IT" sz="1200" b="1" dirty="0">
                <a:solidFill>
                  <a:schemeClr val="accent6">
                    <a:lumMod val="10000"/>
                  </a:schemeClr>
                </a:solidFill>
              </a:rPr>
              <a:t>L’impalcato</a:t>
            </a:r>
            <a:r>
              <a:rPr lang="it-IT" sz="1200" dirty="0">
                <a:solidFill>
                  <a:schemeClr val="accent6">
                    <a:lumMod val="10000"/>
                  </a:schemeClr>
                </a:solidFill>
              </a:rPr>
              <a:t>, realizzato in sezione mista acciaio-</a:t>
            </a:r>
            <a:r>
              <a:rPr lang="it-IT" sz="1200" dirty="0" err="1">
                <a:solidFill>
                  <a:schemeClr val="accent6">
                    <a:lumMod val="10000"/>
                  </a:schemeClr>
                </a:solidFill>
              </a:rPr>
              <a:t>cls</a:t>
            </a:r>
            <a:r>
              <a:rPr lang="it-IT" sz="1200" dirty="0">
                <a:solidFill>
                  <a:schemeClr val="accent6">
                    <a:lumMod val="10000"/>
                  </a:schemeClr>
                </a:solidFill>
              </a:rPr>
              <a:t>, </a:t>
            </a:r>
            <a:r>
              <a:rPr lang="it-IT" sz="1200" b="1" dirty="0">
                <a:solidFill>
                  <a:schemeClr val="accent6">
                    <a:lumMod val="10000"/>
                  </a:schemeClr>
                </a:solidFill>
              </a:rPr>
              <a:t>è costituito da un doppio grigliato a due travi</a:t>
            </a:r>
            <a:r>
              <a:rPr lang="it-IT" sz="1200" dirty="0">
                <a:solidFill>
                  <a:schemeClr val="accent6">
                    <a:lumMod val="10000"/>
                  </a:schemeClr>
                </a:solidFill>
              </a:rPr>
              <a:t>, dove i traversi metallici collegano a due a due gli allineamenti di trave e il collegamento traversale dei due grigliati avviene mediante soletta in c.a. </a:t>
            </a:r>
            <a:r>
              <a:rPr lang="it-IT" sz="1200" b="1" dirty="0">
                <a:solidFill>
                  <a:schemeClr val="accent6">
                    <a:lumMod val="10000"/>
                  </a:schemeClr>
                </a:solidFill>
              </a:rPr>
              <a:t>Le pile sono formate da fusti circolari </a:t>
            </a:r>
            <a:r>
              <a:rPr lang="it-IT" sz="1200" dirty="0">
                <a:solidFill>
                  <a:schemeClr val="accent6">
                    <a:lumMod val="10000"/>
                  </a:schemeClr>
                </a:solidFill>
              </a:rPr>
              <a:t>di diametro  2.0 m </a:t>
            </a:r>
            <a:r>
              <a:rPr lang="it-IT" sz="1200" b="1" dirty="0">
                <a:solidFill>
                  <a:schemeClr val="accent6">
                    <a:lumMod val="10000"/>
                  </a:schemeClr>
                </a:solidFill>
              </a:rPr>
              <a:t>e fondate su micro-pali in acciaio</a:t>
            </a:r>
            <a:r>
              <a:rPr lang="it-IT" sz="1200" dirty="0">
                <a:solidFill>
                  <a:schemeClr val="accent6">
                    <a:lumMod val="10000"/>
                  </a:schemeClr>
                </a:solidFill>
              </a:rPr>
              <a:t>.</a:t>
            </a:r>
          </a:p>
          <a:p>
            <a:pPr marL="0" indent="0" algn="just">
              <a:lnSpc>
                <a:spcPct val="150000"/>
              </a:lnSpc>
              <a:buNone/>
            </a:pPr>
            <a:endParaRPr lang="it-IT" sz="1200" dirty="0">
              <a:solidFill>
                <a:schemeClr val="accent6">
                  <a:lumMod val="10000"/>
                </a:schemeClr>
              </a:solidFill>
            </a:endParaRPr>
          </a:p>
        </p:txBody>
      </p:sp>
      <p:sp>
        <p:nvSpPr>
          <p:cNvPr id="20" name="Titolo 6">
            <a:extLst>
              <a:ext uri="{FF2B5EF4-FFF2-40B4-BE49-F238E27FC236}">
                <a16:creationId xmlns:a16="http://schemas.microsoft.com/office/drawing/2014/main" id="{F4B312A5-AB17-4CA0-905E-D7BAFAB4FFD6}"/>
              </a:ext>
            </a:extLst>
          </p:cNvPr>
          <p:cNvSpPr>
            <a:spLocks noGrp="1"/>
          </p:cNvSpPr>
          <p:nvPr>
            <p:ph type="title"/>
          </p:nvPr>
        </p:nvSpPr>
        <p:spPr>
          <a:xfrm>
            <a:off x="264349" y="349970"/>
            <a:ext cx="10515600" cy="418646"/>
          </a:xfrm>
        </p:spPr>
        <p:txBody>
          <a:bodyPr>
            <a:normAutofit fontScale="90000"/>
          </a:bodyPr>
          <a:lstStyle/>
          <a:p>
            <a:r>
              <a:rPr lang="it-IT" sz="3200" b="1" dirty="0"/>
              <a:t>05. Descrizione dell’intervento</a:t>
            </a:r>
          </a:p>
        </p:txBody>
      </p:sp>
      <p:sp>
        <p:nvSpPr>
          <p:cNvPr id="21" name="Rettangolo 20">
            <a:extLst>
              <a:ext uri="{FF2B5EF4-FFF2-40B4-BE49-F238E27FC236}">
                <a16:creationId xmlns:a16="http://schemas.microsoft.com/office/drawing/2014/main" id="{DDEBEF42-FB5F-40AA-A6A7-5860EC8CB590}"/>
              </a:ext>
            </a:extLst>
          </p:cNvPr>
          <p:cNvSpPr/>
          <p:nvPr/>
        </p:nvSpPr>
        <p:spPr>
          <a:xfrm>
            <a:off x="264349" y="851028"/>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Ovale 18">
            <a:extLst>
              <a:ext uri="{FF2B5EF4-FFF2-40B4-BE49-F238E27FC236}">
                <a16:creationId xmlns:a16="http://schemas.microsoft.com/office/drawing/2014/main" id="{6BB602DF-0125-4A38-A55A-2ADA1E2894DB}"/>
              </a:ext>
            </a:extLst>
          </p:cNvPr>
          <p:cNvSpPr/>
          <p:nvPr/>
        </p:nvSpPr>
        <p:spPr>
          <a:xfrm>
            <a:off x="452931" y="1031322"/>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1030" name="Picture 6">
            <a:extLst>
              <a:ext uri="{FF2B5EF4-FFF2-40B4-BE49-F238E27FC236}">
                <a16:creationId xmlns:a16="http://schemas.microsoft.com/office/drawing/2014/main" id="{F1302650-6056-4774-85F8-B07F5B089F8E}"/>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493280" y="938321"/>
            <a:ext cx="463296" cy="46329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Tabella 30">
            <a:extLst>
              <a:ext uri="{FF2B5EF4-FFF2-40B4-BE49-F238E27FC236}">
                <a16:creationId xmlns:a16="http://schemas.microsoft.com/office/drawing/2014/main" id="{574AB58D-0141-4E19-A5C1-98173E252036}"/>
              </a:ext>
            </a:extLst>
          </p:cNvPr>
          <p:cNvGraphicFramePr>
            <a:graphicFrameLocks noGrp="1"/>
          </p:cNvGraphicFramePr>
          <p:nvPr>
            <p:extLst>
              <p:ext uri="{D42A27DB-BD31-4B8C-83A1-F6EECF244321}">
                <p14:modId xmlns:p14="http://schemas.microsoft.com/office/powerpoint/2010/main" val="1454815089"/>
              </p:ext>
            </p:extLst>
          </p:nvPr>
        </p:nvGraphicFramePr>
        <p:xfrm>
          <a:off x="6154499" y="3535544"/>
          <a:ext cx="5483317" cy="2610876"/>
        </p:xfrm>
        <a:graphic>
          <a:graphicData uri="http://schemas.openxmlformats.org/drawingml/2006/table">
            <a:tbl>
              <a:tblPr firstRow="1" bandRow="1">
                <a:tableStyleId>{5C22544A-7EE6-4342-B048-85BDC9FD1C3A}</a:tableStyleId>
              </a:tblPr>
              <a:tblGrid>
                <a:gridCol w="1225503">
                  <a:extLst>
                    <a:ext uri="{9D8B030D-6E8A-4147-A177-3AD203B41FA5}">
                      <a16:colId xmlns:a16="http://schemas.microsoft.com/office/drawing/2014/main" val="2017343340"/>
                    </a:ext>
                  </a:extLst>
                </a:gridCol>
                <a:gridCol w="622300">
                  <a:extLst>
                    <a:ext uri="{9D8B030D-6E8A-4147-A177-3AD203B41FA5}">
                      <a16:colId xmlns:a16="http://schemas.microsoft.com/office/drawing/2014/main" val="2737948790"/>
                    </a:ext>
                  </a:extLst>
                </a:gridCol>
                <a:gridCol w="495300">
                  <a:extLst>
                    <a:ext uri="{9D8B030D-6E8A-4147-A177-3AD203B41FA5}">
                      <a16:colId xmlns:a16="http://schemas.microsoft.com/office/drawing/2014/main" val="3141656661"/>
                    </a:ext>
                  </a:extLst>
                </a:gridCol>
                <a:gridCol w="774748">
                  <a:extLst>
                    <a:ext uri="{9D8B030D-6E8A-4147-A177-3AD203B41FA5}">
                      <a16:colId xmlns:a16="http://schemas.microsoft.com/office/drawing/2014/main" val="2061547035"/>
                    </a:ext>
                  </a:extLst>
                </a:gridCol>
                <a:gridCol w="1374866">
                  <a:extLst>
                    <a:ext uri="{9D8B030D-6E8A-4147-A177-3AD203B41FA5}">
                      <a16:colId xmlns:a16="http://schemas.microsoft.com/office/drawing/2014/main" val="1559674667"/>
                    </a:ext>
                  </a:extLst>
                </a:gridCol>
                <a:gridCol w="990600">
                  <a:extLst>
                    <a:ext uri="{9D8B030D-6E8A-4147-A177-3AD203B41FA5}">
                      <a16:colId xmlns:a16="http://schemas.microsoft.com/office/drawing/2014/main" val="1571306955"/>
                    </a:ext>
                  </a:extLst>
                </a:gridCol>
              </a:tblGrid>
              <a:tr h="435146">
                <a:tc gridSpan="6">
                  <a:txBody>
                    <a:bodyPr/>
                    <a:lstStyle/>
                    <a:p>
                      <a:pPr algn="ctr"/>
                      <a:r>
                        <a:rPr lang="it-IT" sz="900" dirty="0">
                          <a:latin typeface="+mn-lt"/>
                        </a:rPr>
                        <a:t>Adeguamento SP 22 -Opere d’arte maggiore</a:t>
                      </a:r>
                    </a:p>
                  </a:txBody>
                  <a:tcPr anchor="ctr"/>
                </a:tc>
                <a:tc hMerge="1">
                  <a:txBody>
                    <a:bodyPr/>
                    <a:lstStyle/>
                    <a:p>
                      <a:pPr algn="ctr"/>
                      <a:endParaRPr lang="it-IT" sz="900" dirty="0">
                        <a:latin typeface="+mn-lt"/>
                      </a:endParaRPr>
                    </a:p>
                  </a:txBody>
                  <a:tcPr anchor="ctr"/>
                </a:tc>
                <a:tc hMerge="1">
                  <a:txBody>
                    <a:bodyPr/>
                    <a:lstStyle/>
                    <a:p>
                      <a:pPr algn="ctr"/>
                      <a:endParaRPr lang="it-IT" sz="900" dirty="0">
                        <a:latin typeface="+mn-lt"/>
                      </a:endParaRPr>
                    </a:p>
                  </a:txBody>
                  <a:tcPr anchor="ctr"/>
                </a:tc>
                <a:tc hMerge="1">
                  <a:txBody>
                    <a:bodyPr/>
                    <a:lstStyle/>
                    <a:p>
                      <a:pPr algn="ctr"/>
                      <a:endParaRPr lang="it-IT" sz="900" dirty="0">
                        <a:latin typeface="+mn-lt"/>
                      </a:endParaRPr>
                    </a:p>
                  </a:txBody>
                  <a:tcPr anchor="ctr"/>
                </a:tc>
                <a:tc hMerge="1">
                  <a:txBody>
                    <a:bodyPr/>
                    <a:lstStyle/>
                    <a:p>
                      <a:pPr algn="ctr"/>
                      <a:endParaRPr lang="it-IT" sz="900" dirty="0">
                        <a:latin typeface="+mn-lt"/>
                      </a:endParaRPr>
                    </a:p>
                  </a:txBody>
                  <a:tcPr anchor="ctr"/>
                </a:tc>
                <a:tc hMerge="1">
                  <a:txBody>
                    <a:bodyPr/>
                    <a:lstStyle/>
                    <a:p>
                      <a:pPr algn="ctr"/>
                      <a:endParaRPr lang="it-IT" sz="900" dirty="0">
                        <a:latin typeface="+mn-lt"/>
                      </a:endParaRPr>
                    </a:p>
                  </a:txBody>
                  <a:tcPr anchor="ctr"/>
                </a:tc>
                <a:extLst>
                  <a:ext uri="{0D108BD9-81ED-4DB2-BD59-A6C34878D82A}">
                    <a16:rowId xmlns:a16="http://schemas.microsoft.com/office/drawing/2014/main" val="2781230974"/>
                  </a:ext>
                </a:extLst>
              </a:tr>
              <a:tr h="435146">
                <a:tc>
                  <a:txBody>
                    <a:bodyPr/>
                    <a:lstStyle/>
                    <a:p>
                      <a:pPr algn="ctr"/>
                      <a:r>
                        <a:rPr lang="it-IT" sz="900" dirty="0">
                          <a:solidFill>
                            <a:srgbClr val="FFFFFF"/>
                          </a:solidFill>
                          <a:latin typeface="+mn-lt"/>
                        </a:rPr>
                        <a:t>Opera</a:t>
                      </a:r>
                    </a:p>
                  </a:txBody>
                  <a:tcPr anchor="ctr">
                    <a:solidFill>
                      <a:srgbClr val="0065A4"/>
                    </a:solidFill>
                  </a:tcPr>
                </a:tc>
                <a:tc>
                  <a:txBody>
                    <a:bodyPr/>
                    <a:lstStyle/>
                    <a:p>
                      <a:pPr algn="ctr"/>
                      <a:r>
                        <a:rPr lang="it-IT" sz="900" dirty="0">
                          <a:solidFill>
                            <a:srgbClr val="FFFFFF"/>
                          </a:solidFill>
                          <a:latin typeface="+mn-lt"/>
                        </a:rPr>
                        <a:t>Camp.</a:t>
                      </a:r>
                    </a:p>
                  </a:txBody>
                  <a:tcPr anchor="ctr">
                    <a:solidFill>
                      <a:srgbClr val="0065A4"/>
                    </a:solidFill>
                  </a:tcPr>
                </a:tc>
                <a:tc>
                  <a:txBody>
                    <a:bodyPr/>
                    <a:lstStyle/>
                    <a:p>
                      <a:pPr algn="ctr"/>
                      <a:r>
                        <a:rPr lang="it-IT" sz="900" dirty="0" err="1">
                          <a:solidFill>
                            <a:srgbClr val="FFFFFF"/>
                          </a:solidFill>
                          <a:latin typeface="+mn-lt"/>
                        </a:rPr>
                        <a:t>Lmax</a:t>
                      </a:r>
                      <a:endParaRPr lang="it-IT" sz="900" dirty="0">
                        <a:solidFill>
                          <a:srgbClr val="FFFFFF"/>
                        </a:solidFill>
                        <a:latin typeface="+mn-lt"/>
                      </a:endParaRPr>
                    </a:p>
                  </a:txBody>
                  <a:tcPr anchor="ctr">
                    <a:solidFill>
                      <a:srgbClr val="0065A4"/>
                    </a:solidFill>
                  </a:tcPr>
                </a:tc>
                <a:tc>
                  <a:txBody>
                    <a:bodyPr/>
                    <a:lstStyle/>
                    <a:p>
                      <a:pPr algn="ctr"/>
                      <a:r>
                        <a:rPr lang="it-IT" sz="900" dirty="0">
                          <a:solidFill>
                            <a:srgbClr val="FFFFFF"/>
                          </a:solidFill>
                          <a:latin typeface="+mn-lt"/>
                        </a:rPr>
                        <a:t>Materiali</a:t>
                      </a:r>
                    </a:p>
                  </a:txBody>
                  <a:tcPr anchor="ctr">
                    <a:solidFill>
                      <a:srgbClr val="0065A4"/>
                    </a:solidFill>
                  </a:tcPr>
                </a:tc>
                <a:tc>
                  <a:txBody>
                    <a:bodyPr/>
                    <a:lstStyle/>
                    <a:p>
                      <a:pPr algn="ctr"/>
                      <a:r>
                        <a:rPr lang="it-IT" sz="900" dirty="0">
                          <a:solidFill>
                            <a:srgbClr val="FFFFFF"/>
                          </a:solidFill>
                          <a:latin typeface="+mn-lt"/>
                        </a:rPr>
                        <a:t>Tipologia Impalcato</a:t>
                      </a:r>
                    </a:p>
                  </a:txBody>
                  <a:tcPr anchor="ctr">
                    <a:solidFill>
                      <a:srgbClr val="0065A4"/>
                    </a:solidFill>
                  </a:tcPr>
                </a:tc>
                <a:tc>
                  <a:txBody>
                    <a:bodyPr/>
                    <a:lstStyle/>
                    <a:p>
                      <a:pPr algn="ctr"/>
                      <a:r>
                        <a:rPr lang="it-IT" sz="900" dirty="0">
                          <a:solidFill>
                            <a:srgbClr val="FFFFFF"/>
                          </a:solidFill>
                          <a:latin typeface="+mn-lt"/>
                        </a:rPr>
                        <a:t>Tipologia Fondazioni</a:t>
                      </a:r>
                    </a:p>
                  </a:txBody>
                  <a:tcPr anchor="ctr">
                    <a:solidFill>
                      <a:srgbClr val="0065A4"/>
                    </a:solidFill>
                  </a:tcPr>
                </a:tc>
                <a:extLst>
                  <a:ext uri="{0D108BD9-81ED-4DB2-BD59-A6C34878D82A}">
                    <a16:rowId xmlns:a16="http://schemas.microsoft.com/office/drawing/2014/main" val="2255424611"/>
                  </a:ext>
                </a:extLst>
              </a:tr>
              <a:tr h="435146">
                <a:tc>
                  <a:txBody>
                    <a:bodyPr/>
                    <a:lstStyle/>
                    <a:p>
                      <a:pPr algn="l"/>
                      <a:r>
                        <a:rPr lang="it-IT" sz="900" dirty="0">
                          <a:latin typeface="+mn-lt"/>
                        </a:rPr>
                        <a:t>Ponte sul Lavagna</a:t>
                      </a:r>
                    </a:p>
                  </a:txBody>
                  <a:tcPr anchor="ctr"/>
                </a:tc>
                <a:tc>
                  <a:txBody>
                    <a:bodyPr/>
                    <a:lstStyle/>
                    <a:p>
                      <a:pPr algn="ctr"/>
                      <a:r>
                        <a:rPr lang="it-IT" sz="900" dirty="0">
                          <a:latin typeface="+mn-lt"/>
                        </a:rPr>
                        <a:t>3</a:t>
                      </a:r>
                    </a:p>
                  </a:txBody>
                  <a:tcPr anchor="ctr"/>
                </a:tc>
                <a:tc>
                  <a:txBody>
                    <a:bodyPr/>
                    <a:lstStyle/>
                    <a:p>
                      <a:pPr algn="ctr"/>
                      <a:r>
                        <a:rPr lang="it-IT" sz="900" dirty="0">
                          <a:latin typeface="+mn-lt"/>
                        </a:rPr>
                        <a:t>6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0065A4"/>
                          </a:solidFill>
                          <a:effectLst/>
                          <a:uLnTx/>
                          <a:uFillTx/>
                          <a:latin typeface="+mn-lt"/>
                          <a:ea typeface="맑은 고딕"/>
                          <a:cs typeface="+mn-cs"/>
                        </a:rPr>
                        <a:t>acciaio-cls</a:t>
                      </a:r>
                      <a:endParaRPr kumimoji="0" lang="it-IT" sz="900" b="0" i="0" u="none" strike="noStrike" kern="1200" cap="none" spc="0" normalizeH="0" baseline="0" noProof="0" dirty="0">
                        <a:ln>
                          <a:noFill/>
                        </a:ln>
                        <a:solidFill>
                          <a:srgbClr val="0065A4"/>
                        </a:solidFill>
                        <a:effectLst/>
                        <a:uLnTx/>
                        <a:uFillTx/>
                        <a:latin typeface="+mn-lt"/>
                        <a:ea typeface="맑은 고딕"/>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0065A4"/>
                          </a:solidFill>
                          <a:effectLst/>
                          <a:uLnTx/>
                          <a:uFillTx/>
                          <a:latin typeface="+mn-lt"/>
                          <a:ea typeface="맑은 고딕"/>
                          <a:cs typeface="+mn-cs"/>
                        </a:rPr>
                        <a:t>Cassone </a:t>
                      </a:r>
                      <a:r>
                        <a:rPr kumimoji="0" lang="it-IT" sz="900" b="0" i="0" u="none" strike="noStrike" kern="1200" cap="none" spc="0" normalizeH="0" baseline="0" noProof="0" dirty="0" err="1">
                          <a:ln>
                            <a:noFill/>
                          </a:ln>
                          <a:solidFill>
                            <a:srgbClr val="0065A4"/>
                          </a:solidFill>
                          <a:effectLst/>
                          <a:uLnTx/>
                          <a:uFillTx/>
                          <a:latin typeface="+mn-lt"/>
                          <a:ea typeface="맑은 고딕"/>
                          <a:cs typeface="+mn-cs"/>
                        </a:rPr>
                        <a:t>torsiorigido</a:t>
                      </a:r>
                      <a:r>
                        <a:rPr kumimoji="0" lang="it-IT" sz="900" b="0" i="0" u="none" strike="noStrike" kern="1200" cap="none" spc="0" normalizeH="0" baseline="0" noProof="0" dirty="0">
                          <a:ln>
                            <a:noFill/>
                          </a:ln>
                          <a:solidFill>
                            <a:srgbClr val="0065A4"/>
                          </a:solidFill>
                          <a:effectLst/>
                          <a:uLnTx/>
                          <a:uFillTx/>
                          <a:latin typeface="+mn-lt"/>
                          <a:ea typeface="맑은 고딕"/>
                          <a:cs typeface="+mn-cs"/>
                        </a:rPr>
                        <a:t> </a:t>
                      </a:r>
                      <a:r>
                        <a:rPr kumimoji="0" lang="it-IT" sz="900" b="0" i="0" u="none" strike="noStrike" kern="1200" cap="none" spc="0" normalizeH="0" baseline="0" noProof="0" dirty="0" err="1">
                          <a:ln>
                            <a:noFill/>
                          </a:ln>
                          <a:solidFill>
                            <a:srgbClr val="0065A4"/>
                          </a:solidFill>
                          <a:effectLst/>
                          <a:uLnTx/>
                          <a:uFillTx/>
                          <a:latin typeface="+mn-lt"/>
                          <a:ea typeface="맑은 고딕"/>
                          <a:cs typeface="+mn-cs"/>
                        </a:rPr>
                        <a:t>bitrave</a:t>
                      </a:r>
                      <a:endParaRPr kumimoji="0" lang="it-IT" sz="900" b="0" i="0" u="none" strike="noStrike" kern="1200" cap="none" spc="0" normalizeH="0" baseline="0" noProof="0" dirty="0">
                        <a:ln>
                          <a:noFill/>
                        </a:ln>
                        <a:solidFill>
                          <a:srgbClr val="0065A4"/>
                        </a:solidFill>
                        <a:effectLst/>
                        <a:uLnTx/>
                        <a:uFillTx/>
                        <a:latin typeface="+mn-lt"/>
                        <a:ea typeface="맑은 고딕"/>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0065A4"/>
                          </a:solidFill>
                          <a:effectLst/>
                          <a:uLnTx/>
                          <a:uFillTx/>
                          <a:latin typeface="+mn-lt"/>
                          <a:ea typeface="맑은 고딕"/>
                          <a:cs typeface="+mn-cs"/>
                        </a:rPr>
                        <a:t> micropali</a:t>
                      </a:r>
                    </a:p>
                  </a:txBody>
                  <a:tcPr anchor="ctr"/>
                </a:tc>
                <a:extLst>
                  <a:ext uri="{0D108BD9-81ED-4DB2-BD59-A6C34878D82A}">
                    <a16:rowId xmlns:a16="http://schemas.microsoft.com/office/drawing/2014/main" val="3557401733"/>
                  </a:ext>
                </a:extLst>
              </a:tr>
              <a:tr h="435146">
                <a:tc>
                  <a:txBody>
                    <a:bodyPr/>
                    <a:lstStyle/>
                    <a:p>
                      <a:pPr algn="l"/>
                      <a:r>
                        <a:rPr lang="it-IT" sz="900" dirty="0">
                          <a:latin typeface="+mn-lt"/>
                        </a:rPr>
                        <a:t>Viadotto </a:t>
                      </a:r>
                      <a:r>
                        <a:rPr lang="it-IT" sz="900" dirty="0" err="1">
                          <a:latin typeface="+mn-lt"/>
                        </a:rPr>
                        <a:t>Croso</a:t>
                      </a:r>
                      <a:endParaRPr lang="it-IT" sz="900" dirty="0">
                        <a:latin typeface="+mn-lt"/>
                      </a:endParaRPr>
                    </a:p>
                  </a:txBody>
                  <a:tcPr anchor="ctr"/>
                </a:tc>
                <a:tc>
                  <a:txBody>
                    <a:bodyPr/>
                    <a:lstStyle/>
                    <a:p>
                      <a:pPr algn="ctr"/>
                      <a:r>
                        <a:rPr lang="it-IT" sz="900" dirty="0">
                          <a:latin typeface="+mn-lt"/>
                        </a:rPr>
                        <a:t>1</a:t>
                      </a:r>
                    </a:p>
                  </a:txBody>
                  <a:tcPr anchor="ctr"/>
                </a:tc>
                <a:tc>
                  <a:txBody>
                    <a:bodyPr/>
                    <a:lstStyle/>
                    <a:p>
                      <a:pPr algn="ctr"/>
                      <a:r>
                        <a:rPr lang="it-IT" sz="900" dirty="0">
                          <a:latin typeface="+mn-lt"/>
                        </a:rPr>
                        <a:t>6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0065A4"/>
                          </a:solidFill>
                          <a:effectLst/>
                          <a:uLnTx/>
                          <a:uFillTx/>
                          <a:latin typeface="+mn-lt"/>
                          <a:ea typeface="맑은 고딕"/>
                          <a:cs typeface="+mn-cs"/>
                        </a:rPr>
                        <a:t>acciaio-cls</a:t>
                      </a:r>
                      <a:endParaRPr kumimoji="0" lang="it-IT" sz="900" b="0" i="0" u="none" strike="noStrike" kern="1200" cap="none" spc="0" normalizeH="0" baseline="0" noProof="0" dirty="0">
                        <a:ln>
                          <a:noFill/>
                        </a:ln>
                        <a:solidFill>
                          <a:srgbClr val="0065A4"/>
                        </a:solidFill>
                        <a:effectLst/>
                        <a:uLnTx/>
                        <a:uFillTx/>
                        <a:latin typeface="+mn-lt"/>
                        <a:ea typeface="맑은 고딕"/>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0065A4"/>
                          </a:solidFill>
                          <a:effectLst/>
                          <a:uLnTx/>
                          <a:uFillTx/>
                          <a:latin typeface="+mn-lt"/>
                          <a:ea typeface="맑은 고딕"/>
                          <a:cs typeface="+mn-cs"/>
                        </a:rPr>
                        <a:t>Cassone </a:t>
                      </a:r>
                      <a:r>
                        <a:rPr kumimoji="0" lang="it-IT" sz="900" b="0" i="0" u="none" strike="noStrike" kern="1200" cap="none" spc="0" normalizeH="0" baseline="0" noProof="0" dirty="0" err="1">
                          <a:ln>
                            <a:noFill/>
                          </a:ln>
                          <a:solidFill>
                            <a:srgbClr val="0065A4"/>
                          </a:solidFill>
                          <a:effectLst/>
                          <a:uLnTx/>
                          <a:uFillTx/>
                          <a:latin typeface="+mn-lt"/>
                          <a:ea typeface="맑은 고딕"/>
                          <a:cs typeface="+mn-cs"/>
                        </a:rPr>
                        <a:t>torsiorigido</a:t>
                      </a:r>
                      <a:r>
                        <a:rPr kumimoji="0" lang="it-IT" sz="900" b="0" i="0" u="none" strike="noStrike" kern="1200" cap="none" spc="0" normalizeH="0" baseline="0" noProof="0" dirty="0">
                          <a:ln>
                            <a:noFill/>
                          </a:ln>
                          <a:solidFill>
                            <a:srgbClr val="0065A4"/>
                          </a:solidFill>
                          <a:effectLst/>
                          <a:uLnTx/>
                          <a:uFillTx/>
                          <a:latin typeface="+mn-lt"/>
                          <a:ea typeface="맑은 고딕"/>
                          <a:cs typeface="+mn-cs"/>
                        </a:rPr>
                        <a:t> </a:t>
                      </a:r>
                      <a:r>
                        <a:rPr kumimoji="0" lang="it-IT" sz="900" b="0" i="0" u="none" strike="noStrike" kern="1200" cap="none" spc="0" normalizeH="0" baseline="0" noProof="0" dirty="0" err="1">
                          <a:ln>
                            <a:noFill/>
                          </a:ln>
                          <a:solidFill>
                            <a:srgbClr val="0065A4"/>
                          </a:solidFill>
                          <a:effectLst/>
                          <a:uLnTx/>
                          <a:uFillTx/>
                          <a:latin typeface="+mn-lt"/>
                          <a:ea typeface="맑은 고딕"/>
                          <a:cs typeface="+mn-cs"/>
                        </a:rPr>
                        <a:t>bitrave</a:t>
                      </a:r>
                      <a:endParaRPr kumimoji="0" lang="it-IT" sz="900" b="0" i="0" u="none" strike="noStrike" kern="1200" cap="none" spc="0" normalizeH="0" baseline="0" noProof="0" dirty="0">
                        <a:ln>
                          <a:noFill/>
                        </a:ln>
                        <a:solidFill>
                          <a:srgbClr val="0065A4"/>
                        </a:solidFill>
                        <a:effectLst/>
                        <a:uLnTx/>
                        <a:uFillTx/>
                        <a:latin typeface="+mn-lt"/>
                        <a:ea typeface="맑은 고딕"/>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0065A4"/>
                          </a:solidFill>
                          <a:effectLst/>
                          <a:uLnTx/>
                          <a:uFillTx/>
                          <a:latin typeface="+mn-lt"/>
                          <a:ea typeface="맑은 고딕"/>
                          <a:cs typeface="+mn-cs"/>
                        </a:rPr>
                        <a:t>pozzo</a:t>
                      </a:r>
                    </a:p>
                  </a:txBody>
                  <a:tcPr anchor="ctr"/>
                </a:tc>
                <a:extLst>
                  <a:ext uri="{0D108BD9-81ED-4DB2-BD59-A6C34878D82A}">
                    <a16:rowId xmlns:a16="http://schemas.microsoft.com/office/drawing/2014/main" val="3023272556"/>
                  </a:ext>
                </a:extLst>
              </a:tr>
              <a:tr h="435146">
                <a:tc>
                  <a:txBody>
                    <a:bodyPr/>
                    <a:lstStyle/>
                    <a:p>
                      <a:pPr algn="l"/>
                      <a:r>
                        <a:rPr lang="it-IT" sz="900" dirty="0">
                          <a:latin typeface="+mn-lt"/>
                        </a:rPr>
                        <a:t>Viadotto Garbarini</a:t>
                      </a:r>
                    </a:p>
                  </a:txBody>
                  <a:tcPr anchor="ctr"/>
                </a:tc>
                <a:tc>
                  <a:txBody>
                    <a:bodyPr/>
                    <a:lstStyle/>
                    <a:p>
                      <a:pPr algn="ctr"/>
                      <a:r>
                        <a:rPr lang="it-IT" sz="900" dirty="0">
                          <a:latin typeface="+mn-lt"/>
                        </a:rPr>
                        <a:t>1</a:t>
                      </a:r>
                    </a:p>
                  </a:txBody>
                  <a:tcPr anchor="ctr"/>
                </a:tc>
                <a:tc>
                  <a:txBody>
                    <a:bodyPr/>
                    <a:lstStyle/>
                    <a:p>
                      <a:pPr algn="ctr"/>
                      <a:r>
                        <a:rPr lang="it-IT" sz="900" dirty="0">
                          <a:latin typeface="+mn-lt"/>
                        </a:rPr>
                        <a:t>6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0065A4"/>
                          </a:solidFill>
                          <a:effectLst/>
                          <a:uLnTx/>
                          <a:uFillTx/>
                          <a:latin typeface="+mn-lt"/>
                          <a:ea typeface="맑은 고딕"/>
                          <a:cs typeface="+mn-cs"/>
                        </a:rPr>
                        <a:t>acciaio-cls</a:t>
                      </a:r>
                      <a:endParaRPr kumimoji="0" lang="it-IT" sz="900" b="0" i="0" u="none" strike="noStrike" kern="1200" cap="none" spc="0" normalizeH="0" baseline="0" noProof="0" dirty="0">
                        <a:ln>
                          <a:noFill/>
                        </a:ln>
                        <a:solidFill>
                          <a:srgbClr val="0065A4"/>
                        </a:solidFill>
                        <a:effectLst/>
                        <a:uLnTx/>
                        <a:uFillTx/>
                        <a:latin typeface="+mn-lt"/>
                        <a:ea typeface="맑은 고딕"/>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0065A4"/>
                          </a:solidFill>
                          <a:effectLst/>
                          <a:uLnTx/>
                          <a:uFillTx/>
                          <a:latin typeface="+mn-lt"/>
                          <a:ea typeface="맑은 고딕"/>
                          <a:cs typeface="+mn-cs"/>
                        </a:rPr>
                        <a:t>Cassone </a:t>
                      </a:r>
                      <a:r>
                        <a:rPr kumimoji="0" lang="it-IT" sz="900" b="0" i="0" u="none" strike="noStrike" kern="1200" cap="none" spc="0" normalizeH="0" baseline="0" noProof="0" dirty="0" err="1">
                          <a:ln>
                            <a:noFill/>
                          </a:ln>
                          <a:solidFill>
                            <a:srgbClr val="0065A4"/>
                          </a:solidFill>
                          <a:effectLst/>
                          <a:uLnTx/>
                          <a:uFillTx/>
                          <a:latin typeface="+mn-lt"/>
                          <a:ea typeface="맑은 고딕"/>
                          <a:cs typeface="+mn-cs"/>
                        </a:rPr>
                        <a:t>torsiorigido</a:t>
                      </a:r>
                      <a:r>
                        <a:rPr kumimoji="0" lang="it-IT" sz="900" b="0" i="0" u="none" strike="noStrike" kern="1200" cap="none" spc="0" normalizeH="0" baseline="0" noProof="0" dirty="0">
                          <a:ln>
                            <a:noFill/>
                          </a:ln>
                          <a:solidFill>
                            <a:srgbClr val="0065A4"/>
                          </a:solidFill>
                          <a:effectLst/>
                          <a:uLnTx/>
                          <a:uFillTx/>
                          <a:latin typeface="+mn-lt"/>
                          <a:ea typeface="맑은 고딕"/>
                          <a:cs typeface="+mn-cs"/>
                        </a:rPr>
                        <a:t> </a:t>
                      </a:r>
                      <a:r>
                        <a:rPr kumimoji="0" lang="it-IT" sz="900" b="0" i="0" u="none" strike="noStrike" kern="1200" cap="none" spc="0" normalizeH="0" baseline="0" noProof="0" dirty="0" err="1">
                          <a:ln>
                            <a:noFill/>
                          </a:ln>
                          <a:solidFill>
                            <a:srgbClr val="0065A4"/>
                          </a:solidFill>
                          <a:effectLst/>
                          <a:uLnTx/>
                          <a:uFillTx/>
                          <a:latin typeface="+mn-lt"/>
                          <a:ea typeface="맑은 고딕"/>
                          <a:cs typeface="+mn-cs"/>
                        </a:rPr>
                        <a:t>bitrave</a:t>
                      </a:r>
                      <a:endParaRPr kumimoji="0" lang="it-IT" sz="900" b="0" i="0" u="none" strike="noStrike" kern="1200" cap="none" spc="0" normalizeH="0" baseline="0" noProof="0" dirty="0">
                        <a:ln>
                          <a:noFill/>
                        </a:ln>
                        <a:solidFill>
                          <a:srgbClr val="0065A4"/>
                        </a:solidFill>
                        <a:effectLst/>
                        <a:uLnTx/>
                        <a:uFillTx/>
                        <a:latin typeface="+mn-lt"/>
                        <a:ea typeface="맑은 고딕"/>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0065A4"/>
                          </a:solidFill>
                          <a:effectLst/>
                          <a:uLnTx/>
                          <a:uFillTx/>
                          <a:latin typeface="+mn-lt"/>
                          <a:ea typeface="+mn-ea"/>
                          <a:cs typeface="+mn-cs"/>
                        </a:rPr>
                        <a:t>pozzo</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900" b="0" i="0" u="none" strike="noStrike" kern="1200" cap="none" spc="0" normalizeH="0" baseline="0" noProof="0" dirty="0">
                        <a:ln>
                          <a:noFill/>
                        </a:ln>
                        <a:solidFill>
                          <a:srgbClr val="0065A4"/>
                        </a:solidFill>
                        <a:effectLst/>
                        <a:uLnTx/>
                        <a:uFillTx/>
                        <a:latin typeface="+mn-lt"/>
                        <a:ea typeface="맑은 고딕"/>
                        <a:cs typeface="+mn-cs"/>
                      </a:endParaRPr>
                    </a:p>
                  </a:txBody>
                  <a:tcPr anchor="ctr"/>
                </a:tc>
                <a:extLst>
                  <a:ext uri="{0D108BD9-81ED-4DB2-BD59-A6C34878D82A}">
                    <a16:rowId xmlns:a16="http://schemas.microsoft.com/office/drawing/2014/main" val="4034673141"/>
                  </a:ext>
                </a:extLst>
              </a:tr>
              <a:tr h="435146">
                <a:tc>
                  <a:txBody>
                    <a:bodyPr/>
                    <a:lstStyle/>
                    <a:p>
                      <a:pPr algn="l"/>
                      <a:r>
                        <a:rPr lang="it-IT" sz="900" dirty="0">
                          <a:latin typeface="+mn-lt"/>
                        </a:rPr>
                        <a:t>Viadotto </a:t>
                      </a:r>
                      <a:r>
                        <a:rPr lang="it-IT" sz="900" dirty="0" err="1">
                          <a:latin typeface="+mn-lt"/>
                        </a:rPr>
                        <a:t>Tongusci</a:t>
                      </a:r>
                      <a:endParaRPr lang="it-IT" sz="900" dirty="0">
                        <a:latin typeface="+mn-lt"/>
                      </a:endParaRPr>
                    </a:p>
                  </a:txBody>
                  <a:tcPr anchor="ctr"/>
                </a:tc>
                <a:tc>
                  <a:txBody>
                    <a:bodyPr/>
                    <a:lstStyle/>
                    <a:p>
                      <a:pPr algn="ctr"/>
                      <a:r>
                        <a:rPr lang="it-IT" sz="900" dirty="0">
                          <a:latin typeface="+mn-lt"/>
                        </a:rPr>
                        <a:t>3</a:t>
                      </a:r>
                    </a:p>
                  </a:txBody>
                  <a:tcPr anchor="ctr"/>
                </a:tc>
                <a:tc>
                  <a:txBody>
                    <a:bodyPr/>
                    <a:lstStyle/>
                    <a:p>
                      <a:pPr algn="ctr"/>
                      <a:r>
                        <a:rPr lang="it-IT" sz="900" dirty="0">
                          <a:latin typeface="+mn-lt"/>
                        </a:rPr>
                        <a:t>46</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0065A4"/>
                          </a:solidFill>
                          <a:effectLst/>
                          <a:uLnTx/>
                          <a:uFillTx/>
                          <a:latin typeface="+mn-lt"/>
                          <a:ea typeface="맑은 고딕"/>
                          <a:cs typeface="+mn-cs"/>
                        </a:rPr>
                        <a:t>acciaio-</a:t>
                      </a:r>
                      <a:r>
                        <a:rPr kumimoji="0" lang="it-IT" sz="900" b="0" i="0" u="none" strike="noStrike" kern="1200" cap="none" spc="0" normalizeH="0" baseline="0" noProof="0" dirty="0" err="1">
                          <a:ln>
                            <a:noFill/>
                          </a:ln>
                          <a:solidFill>
                            <a:srgbClr val="0065A4"/>
                          </a:solidFill>
                          <a:effectLst/>
                          <a:uLnTx/>
                          <a:uFillTx/>
                          <a:latin typeface="+mn-lt"/>
                          <a:ea typeface="맑은 고딕"/>
                          <a:cs typeface="+mn-cs"/>
                        </a:rPr>
                        <a:t>cls</a:t>
                      </a:r>
                      <a:endParaRPr kumimoji="0" lang="it-IT" sz="900" b="0" i="0" u="none" strike="noStrike" kern="1200" cap="none" spc="0" normalizeH="0" baseline="0" noProof="0" dirty="0">
                        <a:ln>
                          <a:noFill/>
                        </a:ln>
                        <a:solidFill>
                          <a:srgbClr val="0065A4"/>
                        </a:solidFill>
                        <a:effectLst/>
                        <a:uLnTx/>
                        <a:uFillTx/>
                        <a:latin typeface="+mn-lt"/>
                        <a:ea typeface="맑은 고딕"/>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0065A4"/>
                          </a:solidFill>
                          <a:effectLst/>
                          <a:uLnTx/>
                          <a:uFillTx/>
                          <a:latin typeface="+mn-lt"/>
                          <a:ea typeface="맑은 고딕"/>
                          <a:cs typeface="+mn-cs"/>
                        </a:rPr>
                        <a:t>Cassone </a:t>
                      </a:r>
                      <a:r>
                        <a:rPr kumimoji="0" lang="it-IT" sz="900" b="0" i="0" u="none" strike="noStrike" kern="1200" cap="none" spc="0" normalizeH="0" baseline="0" noProof="0" dirty="0" err="1">
                          <a:ln>
                            <a:noFill/>
                          </a:ln>
                          <a:solidFill>
                            <a:srgbClr val="0065A4"/>
                          </a:solidFill>
                          <a:effectLst/>
                          <a:uLnTx/>
                          <a:uFillTx/>
                          <a:latin typeface="+mn-lt"/>
                          <a:ea typeface="맑은 고딕"/>
                          <a:cs typeface="+mn-cs"/>
                        </a:rPr>
                        <a:t>torsiorigido</a:t>
                      </a:r>
                      <a:r>
                        <a:rPr kumimoji="0" lang="it-IT" sz="900" b="0" i="0" u="none" strike="noStrike" kern="1200" cap="none" spc="0" normalizeH="0" baseline="0" noProof="0" dirty="0">
                          <a:ln>
                            <a:noFill/>
                          </a:ln>
                          <a:solidFill>
                            <a:srgbClr val="0065A4"/>
                          </a:solidFill>
                          <a:effectLst/>
                          <a:uLnTx/>
                          <a:uFillTx/>
                          <a:latin typeface="+mn-lt"/>
                          <a:ea typeface="맑은 고딕"/>
                          <a:cs typeface="+mn-cs"/>
                        </a:rPr>
                        <a:t> </a:t>
                      </a:r>
                      <a:r>
                        <a:rPr kumimoji="0" lang="it-IT" sz="900" b="0" i="0" u="none" strike="noStrike" kern="1200" cap="none" spc="0" normalizeH="0" baseline="0" noProof="0" dirty="0" err="1">
                          <a:ln>
                            <a:noFill/>
                          </a:ln>
                          <a:solidFill>
                            <a:srgbClr val="0065A4"/>
                          </a:solidFill>
                          <a:effectLst/>
                          <a:uLnTx/>
                          <a:uFillTx/>
                          <a:latin typeface="+mn-lt"/>
                          <a:ea typeface="맑은 고딕"/>
                          <a:cs typeface="+mn-cs"/>
                        </a:rPr>
                        <a:t>bitrave</a:t>
                      </a:r>
                      <a:endParaRPr kumimoji="0" lang="it-IT" sz="900" b="0" i="0" u="none" strike="noStrike" kern="1200" cap="none" spc="0" normalizeH="0" baseline="0" noProof="0" dirty="0">
                        <a:ln>
                          <a:noFill/>
                        </a:ln>
                        <a:solidFill>
                          <a:srgbClr val="0065A4"/>
                        </a:solidFill>
                        <a:effectLst/>
                        <a:uLnTx/>
                        <a:uFillTx/>
                        <a:latin typeface="+mn-lt"/>
                        <a:ea typeface="맑은 고딕"/>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0065A4"/>
                          </a:solidFill>
                          <a:effectLst/>
                          <a:uLnTx/>
                          <a:uFillTx/>
                          <a:latin typeface="+mn-lt"/>
                          <a:ea typeface="+mn-ea"/>
                          <a:cs typeface="+mn-cs"/>
                        </a:rPr>
                        <a:t>pozzo</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900" b="0" i="0" u="none" strike="noStrike" kern="1200" cap="none" spc="0" normalizeH="0" baseline="0" noProof="0" dirty="0">
                        <a:ln>
                          <a:noFill/>
                        </a:ln>
                        <a:solidFill>
                          <a:srgbClr val="0065A4"/>
                        </a:solidFill>
                        <a:effectLst/>
                        <a:uLnTx/>
                        <a:uFillTx/>
                        <a:latin typeface="+mn-lt"/>
                        <a:ea typeface="맑은 고딕"/>
                        <a:cs typeface="+mn-cs"/>
                      </a:endParaRPr>
                    </a:p>
                  </a:txBody>
                  <a:tcPr anchor="ctr"/>
                </a:tc>
                <a:extLst>
                  <a:ext uri="{0D108BD9-81ED-4DB2-BD59-A6C34878D82A}">
                    <a16:rowId xmlns:a16="http://schemas.microsoft.com/office/drawing/2014/main" val="3216921331"/>
                  </a:ext>
                </a:extLst>
              </a:tr>
            </a:tbl>
          </a:graphicData>
        </a:graphic>
      </p:graphicFrame>
      <p:sp>
        <p:nvSpPr>
          <p:cNvPr id="25" name="Segnaposto contenuto 2">
            <a:extLst>
              <a:ext uri="{FF2B5EF4-FFF2-40B4-BE49-F238E27FC236}">
                <a16:creationId xmlns:a16="http://schemas.microsoft.com/office/drawing/2014/main" id="{D4462A43-2D39-41BA-9D8C-160094E23937}"/>
              </a:ext>
            </a:extLst>
          </p:cNvPr>
          <p:cNvSpPr txBox="1">
            <a:spLocks/>
          </p:cNvSpPr>
          <p:nvPr/>
        </p:nvSpPr>
        <p:spPr>
          <a:xfrm>
            <a:off x="452931" y="3057557"/>
            <a:ext cx="5272521" cy="41208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spcBef>
                <a:spcPts val="500"/>
              </a:spcBef>
              <a:buNone/>
            </a:pPr>
            <a:r>
              <a:rPr lang="it-IT" sz="1200" dirty="0">
                <a:solidFill>
                  <a:schemeClr val="accent6">
                    <a:lumMod val="10000"/>
                  </a:schemeClr>
                </a:solidFill>
              </a:rPr>
              <a:t>Sezione trasversale ponte sul Lavagna</a:t>
            </a:r>
          </a:p>
          <a:p>
            <a:pPr marL="0" indent="0" algn="just">
              <a:lnSpc>
                <a:spcPct val="150000"/>
              </a:lnSpc>
              <a:buNone/>
            </a:pPr>
            <a:endParaRPr lang="it-IT" sz="1200" dirty="0">
              <a:solidFill>
                <a:schemeClr val="accent6">
                  <a:lumMod val="10000"/>
                </a:schemeClr>
              </a:solidFill>
            </a:endParaRPr>
          </a:p>
        </p:txBody>
      </p:sp>
    </p:spTree>
    <p:extLst>
      <p:ext uri="{BB962C8B-B14F-4D97-AF65-F5344CB8AC3E}">
        <p14:creationId xmlns:p14="http://schemas.microsoft.com/office/powerpoint/2010/main" val="27321548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8">
            <a:extLst>
              <a:ext uri="{FF2B5EF4-FFF2-40B4-BE49-F238E27FC236}">
                <a16:creationId xmlns:a16="http://schemas.microsoft.com/office/drawing/2014/main" id="{159E0B95-1159-47B6-93D4-DD9555426108}"/>
              </a:ext>
            </a:extLst>
          </p:cNvPr>
          <p:cNvSpPr txBox="1">
            <a:spLocks/>
          </p:cNvSpPr>
          <p:nvPr/>
        </p:nvSpPr>
        <p:spPr>
          <a:xfrm>
            <a:off x="1022382" y="1093910"/>
            <a:ext cx="5073618" cy="424056"/>
          </a:xfrm>
          <a:prstGeom prst="rect">
            <a:avLst/>
          </a:prstGeom>
        </p:spPr>
        <p:txBody>
          <a:bodyPr vert="horz" lIns="91440" tIns="45720" rIns="91440" bIns="45720" rtlCol="0" anchor="b">
            <a:no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Opere principali</a:t>
            </a:r>
          </a:p>
        </p:txBody>
      </p:sp>
      <p:sp>
        <p:nvSpPr>
          <p:cNvPr id="6" name="Segnaposto contenuto 2">
            <a:extLst>
              <a:ext uri="{FF2B5EF4-FFF2-40B4-BE49-F238E27FC236}">
                <a16:creationId xmlns:a16="http://schemas.microsoft.com/office/drawing/2014/main" id="{1B522F23-A424-4F12-8F10-3D071758CE37}"/>
              </a:ext>
            </a:extLst>
          </p:cNvPr>
          <p:cNvSpPr txBox="1">
            <a:spLocks/>
          </p:cNvSpPr>
          <p:nvPr/>
        </p:nvSpPr>
        <p:spPr>
          <a:xfrm>
            <a:off x="452931" y="1662282"/>
            <a:ext cx="11361117" cy="42405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buNone/>
            </a:pPr>
            <a:r>
              <a:rPr lang="it-IT" sz="1200" b="1" dirty="0">
                <a:solidFill>
                  <a:srgbClr val="000000"/>
                </a:solidFill>
              </a:rPr>
              <a:t>Ponte sul Torrente Lavagna </a:t>
            </a:r>
            <a:r>
              <a:rPr lang="it-IT" sz="1200" dirty="0">
                <a:solidFill>
                  <a:srgbClr val="000000"/>
                </a:solidFill>
              </a:rPr>
              <a:t>(simulazione progettuale): </a:t>
            </a:r>
          </a:p>
        </p:txBody>
      </p:sp>
      <p:sp>
        <p:nvSpPr>
          <p:cNvPr id="20" name="Titolo 6">
            <a:extLst>
              <a:ext uri="{FF2B5EF4-FFF2-40B4-BE49-F238E27FC236}">
                <a16:creationId xmlns:a16="http://schemas.microsoft.com/office/drawing/2014/main" id="{F4B312A5-AB17-4CA0-905E-D7BAFAB4FFD6}"/>
              </a:ext>
            </a:extLst>
          </p:cNvPr>
          <p:cNvSpPr>
            <a:spLocks noGrp="1"/>
          </p:cNvSpPr>
          <p:nvPr>
            <p:ph type="title"/>
          </p:nvPr>
        </p:nvSpPr>
        <p:spPr>
          <a:xfrm>
            <a:off x="264349" y="366297"/>
            <a:ext cx="10515600" cy="418646"/>
          </a:xfrm>
        </p:spPr>
        <p:txBody>
          <a:bodyPr>
            <a:normAutofit fontScale="90000"/>
          </a:bodyPr>
          <a:lstStyle/>
          <a:p>
            <a:r>
              <a:rPr lang="it-IT" sz="3200" b="1" dirty="0"/>
              <a:t>05. Descrizione dell’intervento</a:t>
            </a:r>
          </a:p>
        </p:txBody>
      </p:sp>
      <p:sp>
        <p:nvSpPr>
          <p:cNvPr id="21" name="Rettangolo 20">
            <a:extLst>
              <a:ext uri="{FF2B5EF4-FFF2-40B4-BE49-F238E27FC236}">
                <a16:creationId xmlns:a16="http://schemas.microsoft.com/office/drawing/2014/main" id="{DDEBEF42-FB5F-40AA-A6A7-5860EC8CB590}"/>
              </a:ext>
            </a:extLst>
          </p:cNvPr>
          <p:cNvSpPr/>
          <p:nvPr/>
        </p:nvSpPr>
        <p:spPr>
          <a:xfrm>
            <a:off x="264349" y="851028"/>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Ovale 18">
            <a:extLst>
              <a:ext uri="{FF2B5EF4-FFF2-40B4-BE49-F238E27FC236}">
                <a16:creationId xmlns:a16="http://schemas.microsoft.com/office/drawing/2014/main" id="{6BB602DF-0125-4A38-A55A-2ADA1E2894DB}"/>
              </a:ext>
            </a:extLst>
          </p:cNvPr>
          <p:cNvSpPr/>
          <p:nvPr/>
        </p:nvSpPr>
        <p:spPr>
          <a:xfrm>
            <a:off x="452931" y="1031322"/>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1030" name="Picture 6">
            <a:extLst>
              <a:ext uri="{FF2B5EF4-FFF2-40B4-BE49-F238E27FC236}">
                <a16:creationId xmlns:a16="http://schemas.microsoft.com/office/drawing/2014/main" id="{F1302650-6056-4774-85F8-B07F5B089F8E}"/>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493280" y="938321"/>
            <a:ext cx="463296" cy="463296"/>
          </a:xfrm>
          <a:prstGeom prst="rect">
            <a:avLst/>
          </a:prstGeom>
          <a:noFill/>
          <a:extLst>
            <a:ext uri="{909E8E84-426E-40DD-AFC4-6F175D3DCCD1}">
              <a14:hiddenFill xmlns:a14="http://schemas.microsoft.com/office/drawing/2010/main">
                <a:solidFill>
                  <a:srgbClr val="FFFFFF"/>
                </a:solidFill>
              </a14:hiddenFill>
            </a:ext>
          </a:extLst>
        </p:spPr>
      </p:pic>
      <p:pic>
        <p:nvPicPr>
          <p:cNvPr id="3" name="Immagine 2">
            <a:extLst>
              <a:ext uri="{FF2B5EF4-FFF2-40B4-BE49-F238E27FC236}">
                <a16:creationId xmlns:a16="http://schemas.microsoft.com/office/drawing/2014/main" id="{772900C9-CD2F-4204-ADA1-3731B021D737}"/>
              </a:ext>
            </a:extLst>
          </p:cNvPr>
          <p:cNvPicPr>
            <a:picLocks noChangeAspect="1"/>
          </p:cNvPicPr>
          <p:nvPr/>
        </p:nvPicPr>
        <p:blipFill rotWithShape="1">
          <a:blip r:embed="rId4"/>
          <a:srcRect l="449" t="25319" b="19977"/>
          <a:stretch/>
        </p:blipFill>
        <p:spPr>
          <a:xfrm>
            <a:off x="493280" y="2035538"/>
            <a:ext cx="11269967" cy="4195648"/>
          </a:xfrm>
          <a:prstGeom prst="rect">
            <a:avLst/>
          </a:prstGeom>
        </p:spPr>
      </p:pic>
    </p:spTree>
    <p:extLst>
      <p:ext uri="{BB962C8B-B14F-4D97-AF65-F5344CB8AC3E}">
        <p14:creationId xmlns:p14="http://schemas.microsoft.com/office/powerpoint/2010/main" val="12067331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olo 6">
            <a:extLst>
              <a:ext uri="{FF2B5EF4-FFF2-40B4-BE49-F238E27FC236}">
                <a16:creationId xmlns:a16="http://schemas.microsoft.com/office/drawing/2014/main" id="{F4B312A5-AB17-4CA0-905E-D7BAFAB4FFD6}"/>
              </a:ext>
            </a:extLst>
          </p:cNvPr>
          <p:cNvSpPr>
            <a:spLocks noGrp="1"/>
          </p:cNvSpPr>
          <p:nvPr>
            <p:ph type="title"/>
          </p:nvPr>
        </p:nvSpPr>
        <p:spPr>
          <a:xfrm>
            <a:off x="264349" y="366297"/>
            <a:ext cx="10515600" cy="418646"/>
          </a:xfrm>
        </p:spPr>
        <p:txBody>
          <a:bodyPr>
            <a:normAutofit fontScale="90000"/>
          </a:bodyPr>
          <a:lstStyle/>
          <a:p>
            <a:r>
              <a:rPr lang="it-IT" sz="3200" b="1" dirty="0"/>
              <a:t>06. Cronoprogramma lavori</a:t>
            </a:r>
          </a:p>
        </p:txBody>
      </p:sp>
      <p:sp>
        <p:nvSpPr>
          <p:cNvPr id="21" name="Rettangolo 20">
            <a:extLst>
              <a:ext uri="{FF2B5EF4-FFF2-40B4-BE49-F238E27FC236}">
                <a16:creationId xmlns:a16="http://schemas.microsoft.com/office/drawing/2014/main" id="{DDEBEF42-FB5F-40AA-A6A7-5860EC8CB590}"/>
              </a:ext>
            </a:extLst>
          </p:cNvPr>
          <p:cNvSpPr/>
          <p:nvPr/>
        </p:nvSpPr>
        <p:spPr>
          <a:xfrm>
            <a:off x="264349" y="851028"/>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3" name="Immagine 2">
            <a:extLst>
              <a:ext uri="{FF2B5EF4-FFF2-40B4-BE49-F238E27FC236}">
                <a16:creationId xmlns:a16="http://schemas.microsoft.com/office/drawing/2014/main" id="{00C44152-3F88-4127-9841-C202F61779BE}"/>
              </a:ext>
            </a:extLst>
          </p:cNvPr>
          <p:cNvPicPr>
            <a:picLocks noChangeAspect="1"/>
          </p:cNvPicPr>
          <p:nvPr/>
        </p:nvPicPr>
        <p:blipFill rotWithShape="1">
          <a:blip r:embed="rId3"/>
          <a:srcRect t="650"/>
          <a:stretch/>
        </p:blipFill>
        <p:spPr>
          <a:xfrm>
            <a:off x="771330" y="961053"/>
            <a:ext cx="10332098" cy="5390528"/>
          </a:xfrm>
          <a:prstGeom prst="rect">
            <a:avLst/>
          </a:prstGeom>
        </p:spPr>
      </p:pic>
    </p:spTree>
    <p:extLst>
      <p:ext uri="{BB962C8B-B14F-4D97-AF65-F5344CB8AC3E}">
        <p14:creationId xmlns:p14="http://schemas.microsoft.com/office/powerpoint/2010/main" val="35127414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magine 15">
            <a:extLst>
              <a:ext uri="{FF2B5EF4-FFF2-40B4-BE49-F238E27FC236}">
                <a16:creationId xmlns:a16="http://schemas.microsoft.com/office/drawing/2014/main" id="{7BF18198-2433-45AF-8636-2CC5AEEFEC25}"/>
              </a:ext>
            </a:extLst>
          </p:cNvPr>
          <p:cNvPicPr>
            <a:picLocks noChangeAspect="1"/>
          </p:cNvPicPr>
          <p:nvPr/>
        </p:nvPicPr>
        <p:blipFill rotWithShape="1">
          <a:blip r:embed="rId3"/>
          <a:srcRect l="35896" t="17845" r="705" b="5688"/>
          <a:stretch/>
        </p:blipFill>
        <p:spPr>
          <a:xfrm>
            <a:off x="4641519" y="1675016"/>
            <a:ext cx="7165216" cy="4551541"/>
          </a:xfrm>
          <a:prstGeom prst="rect">
            <a:avLst/>
          </a:prstGeom>
        </p:spPr>
      </p:pic>
      <p:sp>
        <p:nvSpPr>
          <p:cNvPr id="5" name="Segnaposto testo 8">
            <a:extLst>
              <a:ext uri="{FF2B5EF4-FFF2-40B4-BE49-F238E27FC236}">
                <a16:creationId xmlns:a16="http://schemas.microsoft.com/office/drawing/2014/main" id="{159E0B95-1159-47B6-93D4-DD9555426108}"/>
              </a:ext>
            </a:extLst>
          </p:cNvPr>
          <p:cNvSpPr txBox="1">
            <a:spLocks/>
          </p:cNvSpPr>
          <p:nvPr/>
        </p:nvSpPr>
        <p:spPr>
          <a:xfrm>
            <a:off x="997668" y="1056839"/>
            <a:ext cx="3321006" cy="424056"/>
          </a:xfrm>
          <a:prstGeom prst="rect">
            <a:avLst/>
          </a:prstGeom>
        </p:spPr>
        <p:txBody>
          <a:bodyPr vert="horz" lIns="91440" tIns="45720" rIns="91440" bIns="45720" rtlCol="0" anchor="b">
            <a:norm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Finalità dell’iniziativa</a:t>
            </a:r>
          </a:p>
        </p:txBody>
      </p:sp>
      <p:sp>
        <p:nvSpPr>
          <p:cNvPr id="6" name="Segnaposto contenuto 2">
            <a:extLst>
              <a:ext uri="{FF2B5EF4-FFF2-40B4-BE49-F238E27FC236}">
                <a16:creationId xmlns:a16="http://schemas.microsoft.com/office/drawing/2014/main" id="{1B522F23-A424-4F12-8F10-3D071758CE37}"/>
              </a:ext>
            </a:extLst>
          </p:cNvPr>
          <p:cNvSpPr txBox="1">
            <a:spLocks/>
          </p:cNvSpPr>
          <p:nvPr/>
        </p:nvSpPr>
        <p:spPr>
          <a:xfrm>
            <a:off x="452931" y="1545495"/>
            <a:ext cx="3994073" cy="460738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just" defTabSz="732656">
              <a:lnSpc>
                <a:spcPct val="150000"/>
              </a:lnSpc>
              <a:spcAft>
                <a:spcPts val="77"/>
              </a:spcAft>
              <a:buClrTx/>
              <a:buSzTx/>
              <a:buNone/>
              <a:tabLst>
                <a:tab pos="65597" algn="l"/>
              </a:tabLst>
              <a:defRPr/>
            </a:pPr>
            <a:r>
              <a:rPr lang="it-IT" sz="1200" b="0" dirty="0">
                <a:solidFill>
                  <a:srgbClr val="000000"/>
                </a:solidFill>
              </a:rPr>
              <a:t>La necessità di un collegamento diretto tra la Val Fontanabuona e la costa ligure è stata più volte espressa dal Territorio e dal comparto industriale, ritenendone la realizzazione necessaria per:</a:t>
            </a:r>
          </a:p>
          <a:p>
            <a:pPr marL="171450" lvl="1" indent="-171450" algn="just" defTabSz="732656">
              <a:lnSpc>
                <a:spcPct val="150000"/>
              </a:lnSpc>
              <a:spcAft>
                <a:spcPts val="77"/>
              </a:spcAft>
              <a:tabLst>
                <a:tab pos="65597" algn="l"/>
              </a:tabLst>
              <a:defRPr/>
            </a:pPr>
            <a:r>
              <a:rPr lang="it-IT" sz="1200" b="1" dirty="0">
                <a:solidFill>
                  <a:srgbClr val="000000"/>
                </a:solidFill>
              </a:rPr>
              <a:t>Ridurre tempi e costi di percorrenza della popolazione pendolare</a:t>
            </a:r>
            <a:r>
              <a:rPr lang="it-IT" sz="1200" b="0" dirty="0">
                <a:solidFill>
                  <a:srgbClr val="000000"/>
                </a:solidFill>
              </a:rPr>
              <a:t> gravitante sulla costa;</a:t>
            </a:r>
          </a:p>
          <a:p>
            <a:pPr marL="171450" lvl="1" indent="-171450" algn="just" defTabSz="732656">
              <a:lnSpc>
                <a:spcPct val="150000"/>
              </a:lnSpc>
              <a:spcAft>
                <a:spcPts val="77"/>
              </a:spcAft>
              <a:tabLst>
                <a:tab pos="65597" algn="l"/>
              </a:tabLst>
              <a:defRPr/>
            </a:pPr>
            <a:r>
              <a:rPr lang="it-IT" sz="1200" b="1" dirty="0">
                <a:solidFill>
                  <a:srgbClr val="000000"/>
                </a:solidFill>
              </a:rPr>
              <a:t>Migliorare l’accessibilità ai vari servizi alla persona </a:t>
            </a:r>
            <a:r>
              <a:rPr lang="it-IT" sz="1200" b="0" dirty="0">
                <a:solidFill>
                  <a:srgbClr val="000000"/>
                </a:solidFill>
              </a:rPr>
              <a:t>(sanitari, scolastici, commerciali, ecc.) e, conseguentemente, la qualità della vita dei residenti nella valle;</a:t>
            </a:r>
          </a:p>
          <a:p>
            <a:pPr marL="171450" lvl="1" indent="-171450" algn="just" defTabSz="732656">
              <a:lnSpc>
                <a:spcPct val="150000"/>
              </a:lnSpc>
              <a:spcAft>
                <a:spcPts val="77"/>
              </a:spcAft>
              <a:tabLst>
                <a:tab pos="65597" algn="l"/>
              </a:tabLst>
              <a:defRPr/>
            </a:pPr>
            <a:r>
              <a:rPr lang="it-IT" sz="1200" b="1" dirty="0">
                <a:solidFill>
                  <a:srgbClr val="000000"/>
                </a:solidFill>
              </a:rPr>
              <a:t>Favorire lo sviluppo economico, sia per i settori tradizionali che per quelli di nuovo insediamento, </a:t>
            </a:r>
            <a:r>
              <a:rPr lang="it-IT" sz="1200" b="0" dirty="0">
                <a:solidFill>
                  <a:srgbClr val="000000"/>
                </a:solidFill>
              </a:rPr>
              <a:t>che troverebbero spazi a costi contenuti e nuova competitività per la rapida connessione alle primarie arterie di traffico regionali costiere ed ai mercati di sbocco e di approvvigionamento.</a:t>
            </a:r>
          </a:p>
        </p:txBody>
      </p:sp>
      <p:grpSp>
        <p:nvGrpSpPr>
          <p:cNvPr id="15" name="Gruppo 14">
            <a:extLst>
              <a:ext uri="{FF2B5EF4-FFF2-40B4-BE49-F238E27FC236}">
                <a16:creationId xmlns:a16="http://schemas.microsoft.com/office/drawing/2014/main" id="{BA569EE3-7F8F-4B08-BF1E-BC993C8E9A08}"/>
              </a:ext>
            </a:extLst>
          </p:cNvPr>
          <p:cNvGrpSpPr/>
          <p:nvPr/>
        </p:nvGrpSpPr>
        <p:grpSpPr>
          <a:xfrm>
            <a:off x="406164" y="960773"/>
            <a:ext cx="540000" cy="540000"/>
            <a:chOff x="117933" y="891200"/>
            <a:chExt cx="540000" cy="540000"/>
          </a:xfrm>
        </p:grpSpPr>
        <p:pic>
          <p:nvPicPr>
            <p:cNvPr id="13" name="Elemento grafico 12" descr="Tiro a segno contorno">
              <a:extLst>
                <a:ext uri="{FF2B5EF4-FFF2-40B4-BE49-F238E27FC236}">
                  <a16:creationId xmlns:a16="http://schemas.microsoft.com/office/drawing/2014/main" id="{2369C7C6-2566-468F-B260-A845289D4DE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4700" y="931968"/>
              <a:ext cx="466344" cy="466344"/>
            </a:xfrm>
            <a:prstGeom prst="rect">
              <a:avLst/>
            </a:prstGeom>
          </p:spPr>
        </p:pic>
        <p:sp>
          <p:nvSpPr>
            <p:cNvPr id="18" name="Ovale 17">
              <a:extLst>
                <a:ext uri="{FF2B5EF4-FFF2-40B4-BE49-F238E27FC236}">
                  <a16:creationId xmlns:a16="http://schemas.microsoft.com/office/drawing/2014/main" id="{40A35660-6C91-4DD5-A29B-504695204182}"/>
                </a:ext>
              </a:extLst>
            </p:cNvPr>
            <p:cNvSpPr/>
            <p:nvPr/>
          </p:nvSpPr>
          <p:spPr>
            <a:xfrm>
              <a:off x="117933" y="891200"/>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grpSp>
      <p:sp>
        <p:nvSpPr>
          <p:cNvPr id="20" name="Titolo 6">
            <a:extLst>
              <a:ext uri="{FF2B5EF4-FFF2-40B4-BE49-F238E27FC236}">
                <a16:creationId xmlns:a16="http://schemas.microsoft.com/office/drawing/2014/main" id="{F4B312A5-AB17-4CA0-905E-D7BAFAB4FFD6}"/>
              </a:ext>
            </a:extLst>
          </p:cNvPr>
          <p:cNvSpPr>
            <a:spLocks noGrp="1"/>
          </p:cNvSpPr>
          <p:nvPr>
            <p:ph type="title"/>
          </p:nvPr>
        </p:nvSpPr>
        <p:spPr>
          <a:xfrm>
            <a:off x="258416" y="367473"/>
            <a:ext cx="10515600" cy="418646"/>
          </a:xfrm>
        </p:spPr>
        <p:txBody>
          <a:bodyPr>
            <a:normAutofit fontScale="90000"/>
          </a:bodyPr>
          <a:lstStyle/>
          <a:p>
            <a:r>
              <a:rPr lang="it-IT" sz="3200" b="1" dirty="0"/>
              <a:t>01. Genesi del progetto</a:t>
            </a:r>
          </a:p>
        </p:txBody>
      </p:sp>
      <p:sp>
        <p:nvSpPr>
          <p:cNvPr id="21" name="Rettangolo 20">
            <a:extLst>
              <a:ext uri="{FF2B5EF4-FFF2-40B4-BE49-F238E27FC236}">
                <a16:creationId xmlns:a16="http://schemas.microsoft.com/office/drawing/2014/main" id="{DDEBEF42-FB5F-40AA-A6A7-5860EC8CB590}"/>
              </a:ext>
            </a:extLst>
          </p:cNvPr>
          <p:cNvSpPr/>
          <p:nvPr/>
        </p:nvSpPr>
        <p:spPr>
          <a:xfrm>
            <a:off x="258416" y="825526"/>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8294673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uppo 49">
            <a:extLst>
              <a:ext uri="{FF2B5EF4-FFF2-40B4-BE49-F238E27FC236}">
                <a16:creationId xmlns:a16="http://schemas.microsoft.com/office/drawing/2014/main" id="{4DCAF095-487D-4F09-A2B4-D27044EB43D7}"/>
              </a:ext>
            </a:extLst>
          </p:cNvPr>
          <p:cNvGrpSpPr/>
          <p:nvPr/>
        </p:nvGrpSpPr>
        <p:grpSpPr>
          <a:xfrm>
            <a:off x="452931" y="1025180"/>
            <a:ext cx="540000" cy="540000"/>
            <a:chOff x="117933" y="891200"/>
            <a:chExt cx="540000" cy="540000"/>
          </a:xfrm>
        </p:grpSpPr>
        <p:pic>
          <p:nvPicPr>
            <p:cNvPr id="51" name="Elemento grafico 50" descr="Tiro a segno contorno">
              <a:extLst>
                <a:ext uri="{FF2B5EF4-FFF2-40B4-BE49-F238E27FC236}">
                  <a16:creationId xmlns:a16="http://schemas.microsoft.com/office/drawing/2014/main" id="{A2130C9C-FF38-41B2-826B-216896AD01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4700" y="931968"/>
              <a:ext cx="466344" cy="466344"/>
            </a:xfrm>
            <a:prstGeom prst="rect">
              <a:avLst/>
            </a:prstGeom>
          </p:spPr>
        </p:pic>
        <p:sp>
          <p:nvSpPr>
            <p:cNvPr id="52" name="Ovale 51">
              <a:extLst>
                <a:ext uri="{FF2B5EF4-FFF2-40B4-BE49-F238E27FC236}">
                  <a16:creationId xmlns:a16="http://schemas.microsoft.com/office/drawing/2014/main" id="{304556F6-40CC-4C2C-83B1-FAD680212C5F}"/>
                </a:ext>
              </a:extLst>
            </p:cNvPr>
            <p:cNvSpPr/>
            <p:nvPr/>
          </p:nvSpPr>
          <p:spPr>
            <a:xfrm>
              <a:off x="117933" y="891200"/>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grpSp>
      <p:sp>
        <p:nvSpPr>
          <p:cNvPr id="16" name="Rettangolo 15">
            <a:extLst>
              <a:ext uri="{FF2B5EF4-FFF2-40B4-BE49-F238E27FC236}">
                <a16:creationId xmlns:a16="http://schemas.microsoft.com/office/drawing/2014/main" id="{3EE7D7D7-BFA3-4980-B781-3493C0AAB4A1}"/>
              </a:ext>
            </a:extLst>
          </p:cNvPr>
          <p:cNvSpPr/>
          <p:nvPr/>
        </p:nvSpPr>
        <p:spPr>
          <a:xfrm>
            <a:off x="258416" y="825526"/>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0" name="Ovale 19">
            <a:extLst>
              <a:ext uri="{FF2B5EF4-FFF2-40B4-BE49-F238E27FC236}">
                <a16:creationId xmlns:a16="http://schemas.microsoft.com/office/drawing/2014/main" id="{6148009D-D10E-4F68-8B6C-716B9CAEE79E}"/>
              </a:ext>
            </a:extLst>
          </p:cNvPr>
          <p:cNvSpPr/>
          <p:nvPr/>
        </p:nvSpPr>
        <p:spPr>
          <a:xfrm>
            <a:off x="452931" y="1029061"/>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Titolo 6">
            <a:extLst>
              <a:ext uri="{FF2B5EF4-FFF2-40B4-BE49-F238E27FC236}">
                <a16:creationId xmlns:a16="http://schemas.microsoft.com/office/drawing/2014/main" id="{9B3F68B9-F796-4578-AF51-2CA57CE92F9E}"/>
              </a:ext>
            </a:extLst>
          </p:cNvPr>
          <p:cNvSpPr>
            <a:spLocks noGrp="1"/>
          </p:cNvSpPr>
          <p:nvPr>
            <p:ph type="title"/>
          </p:nvPr>
        </p:nvSpPr>
        <p:spPr>
          <a:xfrm>
            <a:off x="258416" y="378749"/>
            <a:ext cx="10515600" cy="418646"/>
          </a:xfrm>
        </p:spPr>
        <p:txBody>
          <a:bodyPr>
            <a:normAutofit fontScale="90000"/>
          </a:bodyPr>
          <a:lstStyle/>
          <a:p>
            <a:r>
              <a:rPr lang="it-IT" sz="3200" b="1" dirty="0"/>
              <a:t>01. Genesi del progetto</a:t>
            </a:r>
          </a:p>
        </p:txBody>
      </p:sp>
      <p:sp>
        <p:nvSpPr>
          <p:cNvPr id="33" name="Segnaposto contenuto 2">
            <a:extLst>
              <a:ext uri="{FF2B5EF4-FFF2-40B4-BE49-F238E27FC236}">
                <a16:creationId xmlns:a16="http://schemas.microsoft.com/office/drawing/2014/main" id="{EA747B79-8A00-4BEC-A8E0-7D1AF0996992}"/>
              </a:ext>
            </a:extLst>
          </p:cNvPr>
          <p:cNvSpPr txBox="1">
            <a:spLocks/>
          </p:cNvSpPr>
          <p:nvPr/>
        </p:nvSpPr>
        <p:spPr>
          <a:xfrm>
            <a:off x="526301" y="1354397"/>
            <a:ext cx="10989426" cy="4588521"/>
          </a:xfrm>
          <a:prstGeom prst="rect">
            <a:avLst/>
          </a:prstGeom>
        </p:spPr>
        <p:txBody>
          <a:bodyPr vert="horz" lIns="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it-IT" sz="1200" dirty="0">
              <a:solidFill>
                <a:srgbClr val="000000"/>
              </a:solidFill>
            </a:endParaRPr>
          </a:p>
        </p:txBody>
      </p:sp>
      <p:sp>
        <p:nvSpPr>
          <p:cNvPr id="49" name="Segnaposto testo 8">
            <a:extLst>
              <a:ext uri="{FF2B5EF4-FFF2-40B4-BE49-F238E27FC236}">
                <a16:creationId xmlns:a16="http://schemas.microsoft.com/office/drawing/2014/main" id="{C2BC3E24-348C-447F-9009-A5B0EED1B943}"/>
              </a:ext>
            </a:extLst>
          </p:cNvPr>
          <p:cNvSpPr txBox="1">
            <a:spLocks/>
          </p:cNvSpPr>
          <p:nvPr/>
        </p:nvSpPr>
        <p:spPr>
          <a:xfrm>
            <a:off x="1044435" y="1121246"/>
            <a:ext cx="3321006" cy="424056"/>
          </a:xfrm>
          <a:prstGeom prst="rect">
            <a:avLst/>
          </a:prstGeom>
        </p:spPr>
        <p:txBody>
          <a:bodyPr vert="horz" lIns="91440" tIns="45720" rIns="91440" bIns="45720" rtlCol="0" anchor="b">
            <a:norm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Finalità dell’iniziativa</a:t>
            </a:r>
          </a:p>
        </p:txBody>
      </p:sp>
      <p:grpSp>
        <p:nvGrpSpPr>
          <p:cNvPr id="54" name="Gruppo 53">
            <a:extLst>
              <a:ext uri="{FF2B5EF4-FFF2-40B4-BE49-F238E27FC236}">
                <a16:creationId xmlns:a16="http://schemas.microsoft.com/office/drawing/2014/main" id="{130A8EF7-8E01-4822-B6FF-FFB7571E9722}"/>
              </a:ext>
            </a:extLst>
          </p:cNvPr>
          <p:cNvGrpSpPr/>
          <p:nvPr/>
        </p:nvGrpSpPr>
        <p:grpSpPr>
          <a:xfrm>
            <a:off x="558575" y="2030855"/>
            <a:ext cx="5475467" cy="2761516"/>
            <a:chOff x="709876" y="1964925"/>
            <a:chExt cx="5281248" cy="2607414"/>
          </a:xfrm>
        </p:grpSpPr>
        <p:grpSp>
          <p:nvGrpSpPr>
            <p:cNvPr id="55" name="Gruppo 54">
              <a:extLst>
                <a:ext uri="{FF2B5EF4-FFF2-40B4-BE49-F238E27FC236}">
                  <a16:creationId xmlns:a16="http://schemas.microsoft.com/office/drawing/2014/main" id="{C28AD735-CD48-4572-890E-40377DA01C68}"/>
                </a:ext>
              </a:extLst>
            </p:cNvPr>
            <p:cNvGrpSpPr/>
            <p:nvPr/>
          </p:nvGrpSpPr>
          <p:grpSpPr>
            <a:xfrm>
              <a:off x="709876" y="1964925"/>
              <a:ext cx="5281248" cy="2607414"/>
              <a:chOff x="1070769" y="1923399"/>
              <a:chExt cx="9549891" cy="4109077"/>
            </a:xfrm>
          </p:grpSpPr>
          <p:pic>
            <p:nvPicPr>
              <p:cNvPr id="61" name="Picture 1">
                <a:extLst>
                  <a:ext uri="{FF2B5EF4-FFF2-40B4-BE49-F238E27FC236}">
                    <a16:creationId xmlns:a16="http://schemas.microsoft.com/office/drawing/2014/main" id="{3C88EC21-6426-443C-AAB6-DBE572FF2D56}"/>
                  </a:ext>
                </a:extLst>
              </p:cNvPr>
              <p:cNvPicPr>
                <a:picLocks noChangeAspect="1" noChangeArrowheads="1"/>
              </p:cNvPicPr>
              <p:nvPr/>
            </p:nvPicPr>
            <p:blipFill rotWithShape="1">
              <a:blip r:embed="rId5">
                <a:lum bright="10000"/>
                <a:grayscl/>
                <a:extLst>
                  <a:ext uri="{28A0092B-C50C-407E-A947-70E740481C1C}">
                    <a14:useLocalDpi xmlns:a14="http://schemas.microsoft.com/office/drawing/2010/main" val="0"/>
                  </a:ext>
                </a:extLst>
              </a:blip>
              <a:srcRect t="30198" r="2047" b="2895"/>
              <a:stretch/>
            </p:blipFill>
            <p:spPr bwMode="auto">
              <a:xfrm>
                <a:off x="1070769" y="1923399"/>
                <a:ext cx="9549891" cy="410907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3" name="Figura a mano libera 72">
                <a:extLst>
                  <a:ext uri="{FF2B5EF4-FFF2-40B4-BE49-F238E27FC236}">
                    <a16:creationId xmlns:a16="http://schemas.microsoft.com/office/drawing/2014/main" id="{598842A2-ABC3-473D-AC3F-49CAF12E073F}"/>
                  </a:ext>
                </a:extLst>
              </p:cNvPr>
              <p:cNvSpPr/>
              <p:nvPr/>
            </p:nvSpPr>
            <p:spPr bwMode="auto">
              <a:xfrm>
                <a:off x="6670748" y="3075559"/>
                <a:ext cx="576306" cy="855195"/>
              </a:xfrm>
              <a:custGeom>
                <a:avLst/>
                <a:gdLst>
                  <a:gd name="connsiteX0" fmla="*/ 0 w 658812"/>
                  <a:gd name="connsiteY0" fmla="*/ 0 h 1257300"/>
                  <a:gd name="connsiteX1" fmla="*/ 619125 w 658812"/>
                  <a:gd name="connsiteY1" fmla="*/ 361950 h 1257300"/>
                  <a:gd name="connsiteX2" fmla="*/ 238125 w 658812"/>
                  <a:gd name="connsiteY2" fmla="*/ 1257300 h 1257300"/>
                  <a:gd name="connsiteX0" fmla="*/ 0 w 811752"/>
                  <a:gd name="connsiteY0" fmla="*/ 0 h 1379077"/>
                  <a:gd name="connsiteX1" fmla="*/ 806894 w 811752"/>
                  <a:gd name="connsiteY1" fmla="*/ 483727 h 1379077"/>
                  <a:gd name="connsiteX2" fmla="*/ 425894 w 811752"/>
                  <a:gd name="connsiteY2" fmla="*/ 1379077 h 1379077"/>
                  <a:gd name="connsiteX0" fmla="*/ 0 w 845301"/>
                  <a:gd name="connsiteY0" fmla="*/ 0 h 1379077"/>
                  <a:gd name="connsiteX1" fmla="*/ 841030 w 845301"/>
                  <a:gd name="connsiteY1" fmla="*/ 448935 h 1379077"/>
                  <a:gd name="connsiteX2" fmla="*/ 425894 w 845301"/>
                  <a:gd name="connsiteY2" fmla="*/ 1379077 h 1379077"/>
                  <a:gd name="connsiteX0" fmla="*/ 0 w 845301"/>
                  <a:gd name="connsiteY0" fmla="*/ 0 h 1379077"/>
                  <a:gd name="connsiteX1" fmla="*/ 841030 w 845301"/>
                  <a:gd name="connsiteY1" fmla="*/ 448935 h 1379077"/>
                  <a:gd name="connsiteX2" fmla="*/ 425894 w 845301"/>
                  <a:gd name="connsiteY2" fmla="*/ 1379077 h 1379077"/>
                  <a:gd name="connsiteX0" fmla="*/ 0 w 844840"/>
                  <a:gd name="connsiteY0" fmla="*/ 0 h 1466060"/>
                  <a:gd name="connsiteX1" fmla="*/ 841030 w 844840"/>
                  <a:gd name="connsiteY1" fmla="*/ 448935 h 1466060"/>
                  <a:gd name="connsiteX2" fmla="*/ 391754 w 844840"/>
                  <a:gd name="connsiteY2" fmla="*/ 1466060 h 1466060"/>
                </a:gdLst>
                <a:ahLst/>
                <a:cxnLst>
                  <a:cxn ang="0">
                    <a:pos x="connsiteX0" y="connsiteY0"/>
                  </a:cxn>
                  <a:cxn ang="0">
                    <a:pos x="connsiteX1" y="connsiteY1"/>
                  </a:cxn>
                  <a:cxn ang="0">
                    <a:pos x="connsiteX2" y="connsiteY2"/>
                  </a:cxn>
                </a:cxnLst>
                <a:rect l="l" t="t" r="r" b="b"/>
                <a:pathLst>
                  <a:path w="844840" h="1466060">
                    <a:moveTo>
                      <a:pt x="0" y="0"/>
                    </a:moveTo>
                    <a:cubicBezTo>
                      <a:pt x="289719" y="76200"/>
                      <a:pt x="784273" y="187196"/>
                      <a:pt x="841030" y="448935"/>
                    </a:cubicBezTo>
                    <a:cubicBezTo>
                      <a:pt x="880717" y="658485"/>
                      <a:pt x="602097" y="1123160"/>
                      <a:pt x="391754" y="1466060"/>
                    </a:cubicBezTo>
                  </a:path>
                </a:pathLst>
              </a:custGeom>
              <a:ln w="38100">
                <a:solidFill>
                  <a:srgbClr val="00B050"/>
                </a:solidFill>
              </a:ln>
            </p:spPr>
            <p:style>
              <a:lnRef idx="1">
                <a:schemeClr val="accent1"/>
              </a:lnRef>
              <a:fillRef idx="0">
                <a:schemeClr val="accent1"/>
              </a:fillRef>
              <a:effectRef idx="0">
                <a:schemeClr val="accent1"/>
              </a:effectRef>
              <a:fontRef idx="minor">
                <a:schemeClr val="tx1"/>
              </a:fontRef>
            </p:style>
            <p:txBody>
              <a:bodyPr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eaLnBrk="1" hangingPunct="1">
                  <a:defRPr/>
                </a:pPr>
                <a:endParaRPr lang="it-IT"/>
              </a:p>
            </p:txBody>
          </p:sp>
          <p:sp>
            <p:nvSpPr>
              <p:cNvPr id="64" name="Figura a mano libera 73">
                <a:extLst>
                  <a:ext uri="{FF2B5EF4-FFF2-40B4-BE49-F238E27FC236}">
                    <a16:creationId xmlns:a16="http://schemas.microsoft.com/office/drawing/2014/main" id="{9EF24FE0-7845-486A-8D6A-1FA314AD1727}"/>
                  </a:ext>
                </a:extLst>
              </p:cNvPr>
              <p:cNvSpPr/>
              <p:nvPr/>
            </p:nvSpPr>
            <p:spPr bwMode="auto">
              <a:xfrm>
                <a:off x="6686391" y="3007281"/>
                <a:ext cx="2267267" cy="1478437"/>
              </a:xfrm>
              <a:custGeom>
                <a:avLst/>
                <a:gdLst>
                  <a:gd name="connsiteX0" fmla="*/ 266700 w 1665288"/>
                  <a:gd name="connsiteY0" fmla="*/ 0 h 1717675"/>
                  <a:gd name="connsiteX1" fmla="*/ 619125 w 1665288"/>
                  <a:gd name="connsiteY1" fmla="*/ 333375 h 1717675"/>
                  <a:gd name="connsiteX2" fmla="*/ 1447800 w 1665288"/>
                  <a:gd name="connsiteY2" fmla="*/ 838200 h 1717675"/>
                  <a:gd name="connsiteX3" fmla="*/ 1647825 w 1665288"/>
                  <a:gd name="connsiteY3" fmla="*/ 1295400 h 1717675"/>
                  <a:gd name="connsiteX4" fmla="*/ 1552575 w 1665288"/>
                  <a:gd name="connsiteY4" fmla="*/ 1657350 h 1717675"/>
                  <a:gd name="connsiteX5" fmla="*/ 1323975 w 1665288"/>
                  <a:gd name="connsiteY5" fmla="*/ 1657350 h 1717675"/>
                  <a:gd name="connsiteX6" fmla="*/ 781050 w 1665288"/>
                  <a:gd name="connsiteY6" fmla="*/ 1466850 h 1717675"/>
                  <a:gd name="connsiteX7" fmla="*/ 0 w 1665288"/>
                  <a:gd name="connsiteY7" fmla="*/ 1019175 h 1717675"/>
                  <a:gd name="connsiteX0" fmla="*/ 0 w 1917323"/>
                  <a:gd name="connsiteY0" fmla="*/ 0 h 1991255"/>
                  <a:gd name="connsiteX1" fmla="*/ 885487 w 1917323"/>
                  <a:gd name="connsiteY1" fmla="*/ 631956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461012 w 1917323"/>
                  <a:gd name="connsiteY1" fmla="*/ 304940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461012 w 1917323"/>
                  <a:gd name="connsiteY1" fmla="*/ 304940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461012 w 1917323"/>
                  <a:gd name="connsiteY1" fmla="*/ 304940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372168 w 1917323"/>
                  <a:gd name="connsiteY1" fmla="*/ 219632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372168 w 1917323"/>
                  <a:gd name="connsiteY1" fmla="*/ 575086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411653 w 1917323"/>
                  <a:gd name="connsiteY1" fmla="*/ 248069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411653 w 1917323"/>
                  <a:gd name="connsiteY1" fmla="*/ 248069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421524 w 1917323"/>
                  <a:gd name="connsiteY1" fmla="*/ 233849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421524 w 1917323"/>
                  <a:gd name="connsiteY1" fmla="*/ 233849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421524 w 1917323"/>
                  <a:gd name="connsiteY1" fmla="*/ 233849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421524 w 1917323"/>
                  <a:gd name="connsiteY1" fmla="*/ 233849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421524 w 1917323"/>
                  <a:gd name="connsiteY1" fmla="*/ 233849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421524 w 1917323"/>
                  <a:gd name="connsiteY1" fmla="*/ 233849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23256"/>
                  <a:gd name="connsiteY0" fmla="*/ 0 h 1991255"/>
                  <a:gd name="connsiteX1" fmla="*/ 421524 w 1923256"/>
                  <a:gd name="connsiteY1" fmla="*/ 233849 h 1991255"/>
                  <a:gd name="connsiteX2" fmla="*/ 1605576 w 1923256"/>
                  <a:gd name="connsiteY2" fmla="*/ 1193651 h 1991255"/>
                  <a:gd name="connsiteX3" fmla="*/ 1914187 w 1923256"/>
                  <a:gd name="connsiteY3" fmla="*/ 1593981 h 1991255"/>
                  <a:gd name="connsiteX4" fmla="*/ 1818937 w 1923256"/>
                  <a:gd name="connsiteY4" fmla="*/ 1955931 h 1991255"/>
                  <a:gd name="connsiteX5" fmla="*/ 1590337 w 1923256"/>
                  <a:gd name="connsiteY5" fmla="*/ 1955931 h 1991255"/>
                  <a:gd name="connsiteX6" fmla="*/ 1047412 w 1923256"/>
                  <a:gd name="connsiteY6" fmla="*/ 1765431 h 1991255"/>
                  <a:gd name="connsiteX7" fmla="*/ 266362 w 1923256"/>
                  <a:gd name="connsiteY7" fmla="*/ 1317756 h 1991255"/>
                  <a:gd name="connsiteX0" fmla="*/ 0 w 1920949"/>
                  <a:gd name="connsiteY0" fmla="*/ 0 h 1991255"/>
                  <a:gd name="connsiteX1" fmla="*/ 421524 w 1920949"/>
                  <a:gd name="connsiteY1" fmla="*/ 233849 h 1991255"/>
                  <a:gd name="connsiteX2" fmla="*/ 1645062 w 1920949"/>
                  <a:gd name="connsiteY2" fmla="*/ 1094124 h 1991255"/>
                  <a:gd name="connsiteX3" fmla="*/ 1914187 w 1920949"/>
                  <a:gd name="connsiteY3" fmla="*/ 1593981 h 1991255"/>
                  <a:gd name="connsiteX4" fmla="*/ 1818937 w 1920949"/>
                  <a:gd name="connsiteY4" fmla="*/ 1955931 h 1991255"/>
                  <a:gd name="connsiteX5" fmla="*/ 1590337 w 1920949"/>
                  <a:gd name="connsiteY5" fmla="*/ 1955931 h 1991255"/>
                  <a:gd name="connsiteX6" fmla="*/ 1047412 w 1920949"/>
                  <a:gd name="connsiteY6" fmla="*/ 1765431 h 1991255"/>
                  <a:gd name="connsiteX7" fmla="*/ 266362 w 1920949"/>
                  <a:gd name="connsiteY7" fmla="*/ 1317756 h 1991255"/>
                  <a:gd name="connsiteX0" fmla="*/ 0 w 1920949"/>
                  <a:gd name="connsiteY0" fmla="*/ 0 h 1991255"/>
                  <a:gd name="connsiteX1" fmla="*/ 421524 w 1920949"/>
                  <a:gd name="connsiteY1" fmla="*/ 233849 h 1991255"/>
                  <a:gd name="connsiteX2" fmla="*/ 1645062 w 1920949"/>
                  <a:gd name="connsiteY2" fmla="*/ 1094124 h 1991255"/>
                  <a:gd name="connsiteX3" fmla="*/ 1914187 w 1920949"/>
                  <a:gd name="connsiteY3" fmla="*/ 1593981 h 1991255"/>
                  <a:gd name="connsiteX4" fmla="*/ 1818937 w 1920949"/>
                  <a:gd name="connsiteY4" fmla="*/ 1955931 h 1991255"/>
                  <a:gd name="connsiteX5" fmla="*/ 1590337 w 1920949"/>
                  <a:gd name="connsiteY5" fmla="*/ 1955931 h 1991255"/>
                  <a:gd name="connsiteX6" fmla="*/ 1047412 w 1920949"/>
                  <a:gd name="connsiteY6" fmla="*/ 1765431 h 1991255"/>
                  <a:gd name="connsiteX7" fmla="*/ 266362 w 1920949"/>
                  <a:gd name="connsiteY7" fmla="*/ 1317756 h 1991255"/>
                  <a:gd name="connsiteX0" fmla="*/ 0 w 1920949"/>
                  <a:gd name="connsiteY0" fmla="*/ 0 h 1991255"/>
                  <a:gd name="connsiteX1" fmla="*/ 421524 w 1920949"/>
                  <a:gd name="connsiteY1" fmla="*/ 233849 h 1991255"/>
                  <a:gd name="connsiteX2" fmla="*/ 1645062 w 1920949"/>
                  <a:gd name="connsiteY2" fmla="*/ 1094124 h 1991255"/>
                  <a:gd name="connsiteX3" fmla="*/ 1914187 w 1920949"/>
                  <a:gd name="connsiteY3" fmla="*/ 1593981 h 1991255"/>
                  <a:gd name="connsiteX4" fmla="*/ 1818937 w 1920949"/>
                  <a:gd name="connsiteY4" fmla="*/ 1955931 h 1991255"/>
                  <a:gd name="connsiteX5" fmla="*/ 1590337 w 1920949"/>
                  <a:gd name="connsiteY5" fmla="*/ 1955931 h 1991255"/>
                  <a:gd name="connsiteX6" fmla="*/ 1047412 w 1920949"/>
                  <a:gd name="connsiteY6" fmla="*/ 1765431 h 1991255"/>
                  <a:gd name="connsiteX7" fmla="*/ 266362 w 1920949"/>
                  <a:gd name="connsiteY7" fmla="*/ 1317756 h 1991255"/>
                  <a:gd name="connsiteX0" fmla="*/ 0 w 1920949"/>
                  <a:gd name="connsiteY0" fmla="*/ 0 h 1991255"/>
                  <a:gd name="connsiteX1" fmla="*/ 421524 w 1920949"/>
                  <a:gd name="connsiteY1" fmla="*/ 233849 h 1991255"/>
                  <a:gd name="connsiteX2" fmla="*/ 1645062 w 1920949"/>
                  <a:gd name="connsiteY2" fmla="*/ 1094124 h 1991255"/>
                  <a:gd name="connsiteX3" fmla="*/ 1914187 w 1920949"/>
                  <a:gd name="connsiteY3" fmla="*/ 1593981 h 1991255"/>
                  <a:gd name="connsiteX4" fmla="*/ 1818937 w 1920949"/>
                  <a:gd name="connsiteY4" fmla="*/ 1955931 h 1991255"/>
                  <a:gd name="connsiteX5" fmla="*/ 1590337 w 1920949"/>
                  <a:gd name="connsiteY5" fmla="*/ 1955931 h 1991255"/>
                  <a:gd name="connsiteX6" fmla="*/ 1047412 w 1920949"/>
                  <a:gd name="connsiteY6" fmla="*/ 1765431 h 1991255"/>
                  <a:gd name="connsiteX7" fmla="*/ 266362 w 1920949"/>
                  <a:gd name="connsiteY7" fmla="*/ 1317756 h 1991255"/>
                  <a:gd name="connsiteX0" fmla="*/ 0 w 1928196"/>
                  <a:gd name="connsiteY0" fmla="*/ 0 h 2023789"/>
                  <a:gd name="connsiteX1" fmla="*/ 421524 w 1928196"/>
                  <a:gd name="connsiteY1" fmla="*/ 233849 h 2023789"/>
                  <a:gd name="connsiteX2" fmla="*/ 1645062 w 1928196"/>
                  <a:gd name="connsiteY2" fmla="*/ 1094124 h 2023789"/>
                  <a:gd name="connsiteX3" fmla="*/ 1914187 w 1928196"/>
                  <a:gd name="connsiteY3" fmla="*/ 1593981 h 2023789"/>
                  <a:gd name="connsiteX4" fmla="*/ 1858584 w 1928196"/>
                  <a:gd name="connsiteY4" fmla="*/ 1999150 h 2023789"/>
                  <a:gd name="connsiteX5" fmla="*/ 1590337 w 1928196"/>
                  <a:gd name="connsiteY5" fmla="*/ 1955931 h 2023789"/>
                  <a:gd name="connsiteX6" fmla="*/ 1047412 w 1928196"/>
                  <a:gd name="connsiteY6" fmla="*/ 1765431 h 2023789"/>
                  <a:gd name="connsiteX7" fmla="*/ 266362 w 1928196"/>
                  <a:gd name="connsiteY7" fmla="*/ 1317756 h 2023789"/>
                  <a:gd name="connsiteX0" fmla="*/ 0 w 1928194"/>
                  <a:gd name="connsiteY0" fmla="*/ 0 h 2023789"/>
                  <a:gd name="connsiteX1" fmla="*/ 421524 w 1928194"/>
                  <a:gd name="connsiteY1" fmla="*/ 205038 h 2023789"/>
                  <a:gd name="connsiteX2" fmla="*/ 1645062 w 1928194"/>
                  <a:gd name="connsiteY2" fmla="*/ 1094124 h 2023789"/>
                  <a:gd name="connsiteX3" fmla="*/ 1914187 w 1928194"/>
                  <a:gd name="connsiteY3" fmla="*/ 1593981 h 2023789"/>
                  <a:gd name="connsiteX4" fmla="*/ 1858584 w 1928194"/>
                  <a:gd name="connsiteY4" fmla="*/ 1999150 h 2023789"/>
                  <a:gd name="connsiteX5" fmla="*/ 1590337 w 1928194"/>
                  <a:gd name="connsiteY5" fmla="*/ 1955931 h 2023789"/>
                  <a:gd name="connsiteX6" fmla="*/ 1047412 w 1928194"/>
                  <a:gd name="connsiteY6" fmla="*/ 1765431 h 2023789"/>
                  <a:gd name="connsiteX7" fmla="*/ 266362 w 1928194"/>
                  <a:gd name="connsiteY7" fmla="*/ 1317756 h 2023789"/>
                  <a:gd name="connsiteX0" fmla="*/ 0 w 1928196"/>
                  <a:gd name="connsiteY0" fmla="*/ 0 h 2023789"/>
                  <a:gd name="connsiteX1" fmla="*/ 421524 w 1928196"/>
                  <a:gd name="connsiteY1" fmla="*/ 205038 h 2023789"/>
                  <a:gd name="connsiteX2" fmla="*/ 1645062 w 1928196"/>
                  <a:gd name="connsiteY2" fmla="*/ 1094124 h 2023789"/>
                  <a:gd name="connsiteX3" fmla="*/ 1914187 w 1928196"/>
                  <a:gd name="connsiteY3" fmla="*/ 1593981 h 2023789"/>
                  <a:gd name="connsiteX4" fmla="*/ 1858584 w 1928196"/>
                  <a:gd name="connsiteY4" fmla="*/ 1999150 h 2023789"/>
                  <a:gd name="connsiteX5" fmla="*/ 1590337 w 1928196"/>
                  <a:gd name="connsiteY5" fmla="*/ 1955931 h 2023789"/>
                  <a:gd name="connsiteX6" fmla="*/ 1047412 w 1928196"/>
                  <a:gd name="connsiteY6" fmla="*/ 1765431 h 2023789"/>
                  <a:gd name="connsiteX7" fmla="*/ 266362 w 1928196"/>
                  <a:gd name="connsiteY7" fmla="*/ 1317756 h 2023789"/>
                  <a:gd name="connsiteX0" fmla="*/ 0 w 1928194"/>
                  <a:gd name="connsiteY0" fmla="*/ 0 h 2023789"/>
                  <a:gd name="connsiteX1" fmla="*/ 421524 w 1928194"/>
                  <a:gd name="connsiteY1" fmla="*/ 205038 h 2023789"/>
                  <a:gd name="connsiteX2" fmla="*/ 1645062 w 1928194"/>
                  <a:gd name="connsiteY2" fmla="*/ 1094124 h 2023789"/>
                  <a:gd name="connsiteX3" fmla="*/ 1914187 w 1928194"/>
                  <a:gd name="connsiteY3" fmla="*/ 1593981 h 2023789"/>
                  <a:gd name="connsiteX4" fmla="*/ 1858584 w 1928194"/>
                  <a:gd name="connsiteY4" fmla="*/ 1999150 h 2023789"/>
                  <a:gd name="connsiteX5" fmla="*/ 1590337 w 1928194"/>
                  <a:gd name="connsiteY5" fmla="*/ 1955931 h 2023789"/>
                  <a:gd name="connsiteX6" fmla="*/ 1047412 w 1928194"/>
                  <a:gd name="connsiteY6" fmla="*/ 1765431 h 2023789"/>
                  <a:gd name="connsiteX7" fmla="*/ 266362 w 1928194"/>
                  <a:gd name="connsiteY7" fmla="*/ 1317756 h 2023789"/>
                  <a:gd name="connsiteX0" fmla="*/ 0 w 1928196"/>
                  <a:gd name="connsiteY0" fmla="*/ 0 h 2023789"/>
                  <a:gd name="connsiteX1" fmla="*/ 480992 w 1928196"/>
                  <a:gd name="connsiteY1" fmla="*/ 205038 h 2023789"/>
                  <a:gd name="connsiteX2" fmla="*/ 1645062 w 1928196"/>
                  <a:gd name="connsiteY2" fmla="*/ 1094124 h 2023789"/>
                  <a:gd name="connsiteX3" fmla="*/ 1914187 w 1928196"/>
                  <a:gd name="connsiteY3" fmla="*/ 1593981 h 2023789"/>
                  <a:gd name="connsiteX4" fmla="*/ 1858584 w 1928196"/>
                  <a:gd name="connsiteY4" fmla="*/ 1999150 h 2023789"/>
                  <a:gd name="connsiteX5" fmla="*/ 1590337 w 1928196"/>
                  <a:gd name="connsiteY5" fmla="*/ 1955931 h 2023789"/>
                  <a:gd name="connsiteX6" fmla="*/ 1047412 w 1928196"/>
                  <a:gd name="connsiteY6" fmla="*/ 1765431 h 2023789"/>
                  <a:gd name="connsiteX7" fmla="*/ 266362 w 1928196"/>
                  <a:gd name="connsiteY7" fmla="*/ 1317756 h 2023789"/>
                  <a:gd name="connsiteX0" fmla="*/ 0 w 1928194"/>
                  <a:gd name="connsiteY0" fmla="*/ 0 h 2023789"/>
                  <a:gd name="connsiteX1" fmla="*/ 480992 w 1928194"/>
                  <a:gd name="connsiteY1" fmla="*/ 205038 h 2023789"/>
                  <a:gd name="connsiteX2" fmla="*/ 1645062 w 1928194"/>
                  <a:gd name="connsiteY2" fmla="*/ 1094124 h 2023789"/>
                  <a:gd name="connsiteX3" fmla="*/ 1914187 w 1928194"/>
                  <a:gd name="connsiteY3" fmla="*/ 1593981 h 2023789"/>
                  <a:gd name="connsiteX4" fmla="*/ 1858584 w 1928194"/>
                  <a:gd name="connsiteY4" fmla="*/ 1999150 h 2023789"/>
                  <a:gd name="connsiteX5" fmla="*/ 1590337 w 1928194"/>
                  <a:gd name="connsiteY5" fmla="*/ 1955931 h 2023789"/>
                  <a:gd name="connsiteX6" fmla="*/ 1047412 w 1928194"/>
                  <a:gd name="connsiteY6" fmla="*/ 1765431 h 2023789"/>
                  <a:gd name="connsiteX7" fmla="*/ 266362 w 1928194"/>
                  <a:gd name="connsiteY7" fmla="*/ 1317756 h 2023789"/>
                  <a:gd name="connsiteX0" fmla="*/ 0 w 1928196"/>
                  <a:gd name="connsiteY0" fmla="*/ 0 h 2023789"/>
                  <a:gd name="connsiteX1" fmla="*/ 480992 w 1928196"/>
                  <a:gd name="connsiteY1" fmla="*/ 205038 h 2023789"/>
                  <a:gd name="connsiteX2" fmla="*/ 1645062 w 1928196"/>
                  <a:gd name="connsiteY2" fmla="*/ 1094124 h 2023789"/>
                  <a:gd name="connsiteX3" fmla="*/ 1914187 w 1928196"/>
                  <a:gd name="connsiteY3" fmla="*/ 1593981 h 2023789"/>
                  <a:gd name="connsiteX4" fmla="*/ 1858584 w 1928196"/>
                  <a:gd name="connsiteY4" fmla="*/ 1999150 h 2023789"/>
                  <a:gd name="connsiteX5" fmla="*/ 1590337 w 1928196"/>
                  <a:gd name="connsiteY5" fmla="*/ 1955931 h 2023789"/>
                  <a:gd name="connsiteX6" fmla="*/ 1047412 w 1928196"/>
                  <a:gd name="connsiteY6" fmla="*/ 1765431 h 2023789"/>
                  <a:gd name="connsiteX7" fmla="*/ 266362 w 1928196"/>
                  <a:gd name="connsiteY7" fmla="*/ 1317756 h 2023789"/>
                  <a:gd name="connsiteX0" fmla="*/ 0 w 1938105"/>
                  <a:gd name="connsiteY0" fmla="*/ 0 h 2052603"/>
                  <a:gd name="connsiteX1" fmla="*/ 490903 w 1938105"/>
                  <a:gd name="connsiteY1" fmla="*/ 233852 h 2052603"/>
                  <a:gd name="connsiteX2" fmla="*/ 1654973 w 1938105"/>
                  <a:gd name="connsiteY2" fmla="*/ 1122938 h 2052603"/>
                  <a:gd name="connsiteX3" fmla="*/ 1924098 w 1938105"/>
                  <a:gd name="connsiteY3" fmla="*/ 1622795 h 2052603"/>
                  <a:gd name="connsiteX4" fmla="*/ 1868495 w 1938105"/>
                  <a:gd name="connsiteY4" fmla="*/ 2027964 h 2052603"/>
                  <a:gd name="connsiteX5" fmla="*/ 1600248 w 1938105"/>
                  <a:gd name="connsiteY5" fmla="*/ 1984745 h 2052603"/>
                  <a:gd name="connsiteX6" fmla="*/ 1057323 w 1938105"/>
                  <a:gd name="connsiteY6" fmla="*/ 1794245 h 2052603"/>
                  <a:gd name="connsiteX7" fmla="*/ 276273 w 1938105"/>
                  <a:gd name="connsiteY7" fmla="*/ 1346570 h 2052603"/>
                  <a:gd name="connsiteX0" fmla="*/ 0 w 1938107"/>
                  <a:gd name="connsiteY0" fmla="*/ 0 h 2052603"/>
                  <a:gd name="connsiteX1" fmla="*/ 471080 w 1938107"/>
                  <a:gd name="connsiteY1" fmla="*/ 406732 h 2052603"/>
                  <a:gd name="connsiteX2" fmla="*/ 1654973 w 1938107"/>
                  <a:gd name="connsiteY2" fmla="*/ 1122938 h 2052603"/>
                  <a:gd name="connsiteX3" fmla="*/ 1924098 w 1938107"/>
                  <a:gd name="connsiteY3" fmla="*/ 1622795 h 2052603"/>
                  <a:gd name="connsiteX4" fmla="*/ 1868495 w 1938107"/>
                  <a:gd name="connsiteY4" fmla="*/ 2027964 h 2052603"/>
                  <a:gd name="connsiteX5" fmla="*/ 1600248 w 1938107"/>
                  <a:gd name="connsiteY5" fmla="*/ 1984745 h 2052603"/>
                  <a:gd name="connsiteX6" fmla="*/ 1057323 w 1938107"/>
                  <a:gd name="connsiteY6" fmla="*/ 1794245 h 2052603"/>
                  <a:gd name="connsiteX7" fmla="*/ 276273 w 1938107"/>
                  <a:gd name="connsiteY7" fmla="*/ 1346570 h 2052603"/>
                  <a:gd name="connsiteX0" fmla="*/ 0 w 1938105"/>
                  <a:gd name="connsiteY0" fmla="*/ 0 h 2052603"/>
                  <a:gd name="connsiteX1" fmla="*/ 471080 w 1938105"/>
                  <a:gd name="connsiteY1" fmla="*/ 406732 h 2052603"/>
                  <a:gd name="connsiteX2" fmla="*/ 1654973 w 1938105"/>
                  <a:gd name="connsiteY2" fmla="*/ 1122938 h 2052603"/>
                  <a:gd name="connsiteX3" fmla="*/ 1924098 w 1938105"/>
                  <a:gd name="connsiteY3" fmla="*/ 1622795 h 2052603"/>
                  <a:gd name="connsiteX4" fmla="*/ 1868495 w 1938105"/>
                  <a:gd name="connsiteY4" fmla="*/ 2027964 h 2052603"/>
                  <a:gd name="connsiteX5" fmla="*/ 1600248 w 1938105"/>
                  <a:gd name="connsiteY5" fmla="*/ 1984745 h 2052603"/>
                  <a:gd name="connsiteX6" fmla="*/ 1057323 w 1938105"/>
                  <a:gd name="connsiteY6" fmla="*/ 1794245 h 2052603"/>
                  <a:gd name="connsiteX7" fmla="*/ 276273 w 1938105"/>
                  <a:gd name="connsiteY7" fmla="*/ 1346570 h 2052603"/>
                  <a:gd name="connsiteX0" fmla="*/ 0 w 1938107"/>
                  <a:gd name="connsiteY0" fmla="*/ 0 h 2052603"/>
                  <a:gd name="connsiteX1" fmla="*/ 500814 w 1938107"/>
                  <a:gd name="connsiteY1" fmla="*/ 349107 h 2052603"/>
                  <a:gd name="connsiteX2" fmla="*/ 1654973 w 1938107"/>
                  <a:gd name="connsiteY2" fmla="*/ 1122938 h 2052603"/>
                  <a:gd name="connsiteX3" fmla="*/ 1924098 w 1938107"/>
                  <a:gd name="connsiteY3" fmla="*/ 1622795 h 2052603"/>
                  <a:gd name="connsiteX4" fmla="*/ 1868495 w 1938107"/>
                  <a:gd name="connsiteY4" fmla="*/ 2027964 h 2052603"/>
                  <a:gd name="connsiteX5" fmla="*/ 1600248 w 1938107"/>
                  <a:gd name="connsiteY5" fmla="*/ 1984745 h 2052603"/>
                  <a:gd name="connsiteX6" fmla="*/ 1057323 w 1938107"/>
                  <a:gd name="connsiteY6" fmla="*/ 1794245 h 2052603"/>
                  <a:gd name="connsiteX7" fmla="*/ 276273 w 1938107"/>
                  <a:gd name="connsiteY7" fmla="*/ 1346570 h 2052603"/>
                  <a:gd name="connsiteX0" fmla="*/ 0 w 1938105"/>
                  <a:gd name="connsiteY0" fmla="*/ 0 h 2052603"/>
                  <a:gd name="connsiteX1" fmla="*/ 520636 w 1938105"/>
                  <a:gd name="connsiteY1" fmla="*/ 305885 h 2052603"/>
                  <a:gd name="connsiteX2" fmla="*/ 1654973 w 1938105"/>
                  <a:gd name="connsiteY2" fmla="*/ 1122938 h 2052603"/>
                  <a:gd name="connsiteX3" fmla="*/ 1924098 w 1938105"/>
                  <a:gd name="connsiteY3" fmla="*/ 1622795 h 2052603"/>
                  <a:gd name="connsiteX4" fmla="*/ 1868495 w 1938105"/>
                  <a:gd name="connsiteY4" fmla="*/ 2027964 h 2052603"/>
                  <a:gd name="connsiteX5" fmla="*/ 1600248 w 1938105"/>
                  <a:gd name="connsiteY5" fmla="*/ 1984745 h 2052603"/>
                  <a:gd name="connsiteX6" fmla="*/ 1057323 w 1938105"/>
                  <a:gd name="connsiteY6" fmla="*/ 1794245 h 2052603"/>
                  <a:gd name="connsiteX7" fmla="*/ 276273 w 1938105"/>
                  <a:gd name="connsiteY7" fmla="*/ 1346570 h 2052603"/>
                  <a:gd name="connsiteX0" fmla="*/ 0 w 1929906"/>
                  <a:gd name="connsiteY0" fmla="*/ 0 h 2064246"/>
                  <a:gd name="connsiteX1" fmla="*/ 520636 w 1929906"/>
                  <a:gd name="connsiteY1" fmla="*/ 305885 h 2064246"/>
                  <a:gd name="connsiteX2" fmla="*/ 1654973 w 1929906"/>
                  <a:gd name="connsiteY2" fmla="*/ 1122938 h 2064246"/>
                  <a:gd name="connsiteX3" fmla="*/ 1914187 w 1929906"/>
                  <a:gd name="connsiteY3" fmla="*/ 1464322 h 2064246"/>
                  <a:gd name="connsiteX4" fmla="*/ 1868495 w 1929906"/>
                  <a:gd name="connsiteY4" fmla="*/ 2027964 h 2064246"/>
                  <a:gd name="connsiteX5" fmla="*/ 1600248 w 1929906"/>
                  <a:gd name="connsiteY5" fmla="*/ 1984745 h 2064246"/>
                  <a:gd name="connsiteX6" fmla="*/ 1057323 w 1929906"/>
                  <a:gd name="connsiteY6" fmla="*/ 1794245 h 2064246"/>
                  <a:gd name="connsiteX7" fmla="*/ 276273 w 1929906"/>
                  <a:gd name="connsiteY7" fmla="*/ 1346570 h 2064246"/>
                  <a:gd name="connsiteX0" fmla="*/ 0 w 1929904"/>
                  <a:gd name="connsiteY0" fmla="*/ 0 h 2064246"/>
                  <a:gd name="connsiteX1" fmla="*/ 520636 w 1929904"/>
                  <a:gd name="connsiteY1" fmla="*/ 305885 h 2064246"/>
                  <a:gd name="connsiteX2" fmla="*/ 1654973 w 1929904"/>
                  <a:gd name="connsiteY2" fmla="*/ 1122938 h 2064246"/>
                  <a:gd name="connsiteX3" fmla="*/ 1914187 w 1929904"/>
                  <a:gd name="connsiteY3" fmla="*/ 1464322 h 2064246"/>
                  <a:gd name="connsiteX4" fmla="*/ 1868495 w 1929904"/>
                  <a:gd name="connsiteY4" fmla="*/ 2027964 h 2064246"/>
                  <a:gd name="connsiteX5" fmla="*/ 1600248 w 1929904"/>
                  <a:gd name="connsiteY5" fmla="*/ 1984745 h 2064246"/>
                  <a:gd name="connsiteX6" fmla="*/ 1057323 w 1929904"/>
                  <a:gd name="connsiteY6" fmla="*/ 1794245 h 2064246"/>
                  <a:gd name="connsiteX7" fmla="*/ 276273 w 1929904"/>
                  <a:gd name="connsiteY7" fmla="*/ 1303349 h 2064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9904" h="2064246">
                    <a:moveTo>
                      <a:pt x="0" y="0"/>
                    </a:moveTo>
                    <a:cubicBezTo>
                      <a:pt x="77787" y="96837"/>
                      <a:pt x="324100" y="61102"/>
                      <a:pt x="520636" y="305885"/>
                    </a:cubicBezTo>
                    <a:cubicBezTo>
                      <a:pt x="717172" y="550668"/>
                      <a:pt x="1422715" y="929865"/>
                      <a:pt x="1654973" y="1122938"/>
                    </a:cubicBezTo>
                    <a:cubicBezTo>
                      <a:pt x="1887232" y="1316011"/>
                      <a:pt x="1878600" y="1313484"/>
                      <a:pt x="1914187" y="1464322"/>
                    </a:cubicBezTo>
                    <a:cubicBezTo>
                      <a:pt x="1949774" y="1615160"/>
                      <a:pt x="1920818" y="1941227"/>
                      <a:pt x="1868495" y="2027964"/>
                    </a:cubicBezTo>
                    <a:cubicBezTo>
                      <a:pt x="1816172" y="2114701"/>
                      <a:pt x="1735443" y="2023698"/>
                      <a:pt x="1600248" y="1984745"/>
                    </a:cubicBezTo>
                    <a:cubicBezTo>
                      <a:pt x="1465053" y="1945792"/>
                      <a:pt x="1277985" y="1900607"/>
                      <a:pt x="1057323" y="1794245"/>
                    </a:cubicBezTo>
                    <a:cubicBezTo>
                      <a:pt x="836661" y="1687883"/>
                      <a:pt x="556467" y="1474005"/>
                      <a:pt x="276273" y="1303349"/>
                    </a:cubicBezTo>
                  </a:path>
                </a:pathLst>
              </a:custGeom>
              <a:ln w="38100">
                <a:solidFill>
                  <a:srgbClr val="003300"/>
                </a:solidFill>
              </a:ln>
            </p:spPr>
            <p:style>
              <a:lnRef idx="1">
                <a:schemeClr val="accent1"/>
              </a:lnRef>
              <a:fillRef idx="0">
                <a:schemeClr val="accent1"/>
              </a:fillRef>
              <a:effectRef idx="0">
                <a:schemeClr val="accent1"/>
              </a:effectRef>
              <a:fontRef idx="minor">
                <a:schemeClr val="tx1"/>
              </a:fontRef>
            </p:style>
            <p:txBody>
              <a:bodyPr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eaLnBrk="1" hangingPunct="1">
                  <a:defRPr/>
                </a:pPr>
                <a:endParaRPr lang="it-IT"/>
              </a:p>
            </p:txBody>
          </p:sp>
          <p:sp>
            <p:nvSpPr>
              <p:cNvPr id="65" name="Figura a mano libera 74">
                <a:extLst>
                  <a:ext uri="{FF2B5EF4-FFF2-40B4-BE49-F238E27FC236}">
                    <a16:creationId xmlns:a16="http://schemas.microsoft.com/office/drawing/2014/main" id="{194C24E1-AC7D-4F2E-B808-8118D397F15A}"/>
                  </a:ext>
                </a:extLst>
              </p:cNvPr>
              <p:cNvSpPr/>
              <p:nvPr/>
            </p:nvSpPr>
            <p:spPr bwMode="auto">
              <a:xfrm>
                <a:off x="1984595" y="2152957"/>
                <a:ext cx="4515057" cy="673055"/>
              </a:xfrm>
              <a:custGeom>
                <a:avLst/>
                <a:gdLst>
                  <a:gd name="connsiteX0" fmla="*/ 3724275 w 3724275"/>
                  <a:gd name="connsiteY0" fmla="*/ 776287 h 776287"/>
                  <a:gd name="connsiteX1" fmla="*/ 2781300 w 3724275"/>
                  <a:gd name="connsiteY1" fmla="*/ 357187 h 776287"/>
                  <a:gd name="connsiteX2" fmla="*/ 2438400 w 3724275"/>
                  <a:gd name="connsiteY2" fmla="*/ 471487 h 776287"/>
                  <a:gd name="connsiteX3" fmla="*/ 2076450 w 3724275"/>
                  <a:gd name="connsiteY3" fmla="*/ 300037 h 776287"/>
                  <a:gd name="connsiteX4" fmla="*/ 1676400 w 3724275"/>
                  <a:gd name="connsiteY4" fmla="*/ 385762 h 776287"/>
                  <a:gd name="connsiteX5" fmla="*/ 1171575 w 3724275"/>
                  <a:gd name="connsiteY5" fmla="*/ 166687 h 776287"/>
                  <a:gd name="connsiteX6" fmla="*/ 771525 w 3724275"/>
                  <a:gd name="connsiteY6" fmla="*/ 185737 h 776287"/>
                  <a:gd name="connsiteX7" fmla="*/ 438150 w 3724275"/>
                  <a:gd name="connsiteY7" fmla="*/ 61912 h 776287"/>
                  <a:gd name="connsiteX8" fmla="*/ 0 w 3724275"/>
                  <a:gd name="connsiteY8" fmla="*/ 557212 h 77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24275" h="776287">
                    <a:moveTo>
                      <a:pt x="3724275" y="776287"/>
                    </a:moveTo>
                    <a:cubicBezTo>
                      <a:pt x="3359944" y="592137"/>
                      <a:pt x="2995613" y="407987"/>
                      <a:pt x="2781300" y="357187"/>
                    </a:cubicBezTo>
                    <a:cubicBezTo>
                      <a:pt x="2566988" y="306387"/>
                      <a:pt x="2555875" y="481012"/>
                      <a:pt x="2438400" y="471487"/>
                    </a:cubicBezTo>
                    <a:cubicBezTo>
                      <a:pt x="2320925" y="461962"/>
                      <a:pt x="2203450" y="314324"/>
                      <a:pt x="2076450" y="300037"/>
                    </a:cubicBezTo>
                    <a:cubicBezTo>
                      <a:pt x="1949450" y="285750"/>
                      <a:pt x="1827213" y="407987"/>
                      <a:pt x="1676400" y="385762"/>
                    </a:cubicBezTo>
                    <a:cubicBezTo>
                      <a:pt x="1525587" y="363537"/>
                      <a:pt x="1322388" y="200025"/>
                      <a:pt x="1171575" y="166687"/>
                    </a:cubicBezTo>
                    <a:cubicBezTo>
                      <a:pt x="1020763" y="133350"/>
                      <a:pt x="893763" y="203200"/>
                      <a:pt x="771525" y="185737"/>
                    </a:cubicBezTo>
                    <a:cubicBezTo>
                      <a:pt x="649287" y="168274"/>
                      <a:pt x="566737" y="0"/>
                      <a:pt x="438150" y="61912"/>
                    </a:cubicBezTo>
                    <a:cubicBezTo>
                      <a:pt x="309563" y="123824"/>
                      <a:pt x="154781" y="340518"/>
                      <a:pt x="0" y="557212"/>
                    </a:cubicBezTo>
                  </a:path>
                </a:pathLst>
              </a:custGeom>
              <a:ln w="38100">
                <a:solidFill>
                  <a:srgbClr val="F0720A"/>
                </a:solidFill>
              </a:ln>
            </p:spPr>
            <p:style>
              <a:lnRef idx="1">
                <a:schemeClr val="accent1"/>
              </a:lnRef>
              <a:fillRef idx="0">
                <a:schemeClr val="accent1"/>
              </a:fillRef>
              <a:effectRef idx="0">
                <a:schemeClr val="accent1"/>
              </a:effectRef>
              <a:fontRef idx="minor">
                <a:schemeClr val="tx1"/>
              </a:fontRef>
            </p:style>
            <p:txBody>
              <a:bodyPr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eaLnBrk="1" hangingPunct="1">
                  <a:defRPr/>
                </a:pPr>
                <a:endParaRPr lang="it-IT" dirty="0"/>
              </a:p>
            </p:txBody>
          </p:sp>
          <p:sp>
            <p:nvSpPr>
              <p:cNvPr id="66" name="Figura a mano libera 75">
                <a:extLst>
                  <a:ext uri="{FF2B5EF4-FFF2-40B4-BE49-F238E27FC236}">
                    <a16:creationId xmlns:a16="http://schemas.microsoft.com/office/drawing/2014/main" id="{EC5E23A6-117F-4437-A026-D6C866E4F14B}"/>
                  </a:ext>
                </a:extLst>
              </p:cNvPr>
              <p:cNvSpPr/>
              <p:nvPr/>
            </p:nvSpPr>
            <p:spPr bwMode="auto">
              <a:xfrm>
                <a:off x="2035856" y="2743201"/>
                <a:ext cx="7031699" cy="1814297"/>
              </a:xfrm>
              <a:custGeom>
                <a:avLst/>
                <a:gdLst>
                  <a:gd name="connsiteX0" fmla="*/ 3924300 w 5876925"/>
                  <a:gd name="connsiteY0" fmla="*/ 295275 h 2381250"/>
                  <a:gd name="connsiteX1" fmla="*/ 4352925 w 5876925"/>
                  <a:gd name="connsiteY1" fmla="*/ 457200 h 2381250"/>
                  <a:gd name="connsiteX2" fmla="*/ 4524375 w 5876925"/>
                  <a:gd name="connsiteY2" fmla="*/ 666750 h 2381250"/>
                  <a:gd name="connsiteX3" fmla="*/ 4791075 w 5876925"/>
                  <a:gd name="connsiteY3" fmla="*/ 876300 h 2381250"/>
                  <a:gd name="connsiteX4" fmla="*/ 5391150 w 5876925"/>
                  <a:gd name="connsiteY4" fmla="*/ 1238250 h 2381250"/>
                  <a:gd name="connsiteX5" fmla="*/ 5762625 w 5876925"/>
                  <a:gd name="connsiteY5" fmla="*/ 1524000 h 2381250"/>
                  <a:gd name="connsiteX6" fmla="*/ 5838825 w 5876925"/>
                  <a:gd name="connsiteY6" fmla="*/ 1895475 h 2381250"/>
                  <a:gd name="connsiteX7" fmla="*/ 5705475 w 5876925"/>
                  <a:gd name="connsiteY7" fmla="*/ 2352675 h 2381250"/>
                  <a:gd name="connsiteX8" fmla="*/ 4810125 w 5876925"/>
                  <a:gd name="connsiteY8" fmla="*/ 2066925 h 2381250"/>
                  <a:gd name="connsiteX9" fmla="*/ 3981450 w 5876925"/>
                  <a:gd name="connsiteY9" fmla="*/ 1571625 h 2381250"/>
                  <a:gd name="connsiteX10" fmla="*/ 3352800 w 5876925"/>
                  <a:gd name="connsiteY10" fmla="*/ 1447800 h 2381250"/>
                  <a:gd name="connsiteX11" fmla="*/ 2705100 w 5876925"/>
                  <a:gd name="connsiteY11" fmla="*/ 1123950 h 2381250"/>
                  <a:gd name="connsiteX12" fmla="*/ 1695450 w 5876925"/>
                  <a:gd name="connsiteY12" fmla="*/ 857250 h 2381250"/>
                  <a:gd name="connsiteX13" fmla="*/ 809625 w 5876925"/>
                  <a:gd name="connsiteY13" fmla="*/ 723900 h 2381250"/>
                  <a:gd name="connsiteX14" fmla="*/ 0 w 5876925"/>
                  <a:gd name="connsiteY14" fmla="*/ 0 h 238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76925" h="2381250">
                    <a:moveTo>
                      <a:pt x="3924300" y="295275"/>
                    </a:moveTo>
                    <a:cubicBezTo>
                      <a:pt x="4088606" y="345281"/>
                      <a:pt x="4252912" y="395287"/>
                      <a:pt x="4352925" y="457200"/>
                    </a:cubicBezTo>
                    <a:cubicBezTo>
                      <a:pt x="4452938" y="519113"/>
                      <a:pt x="4451350" y="596900"/>
                      <a:pt x="4524375" y="666750"/>
                    </a:cubicBezTo>
                    <a:cubicBezTo>
                      <a:pt x="4597400" y="736600"/>
                      <a:pt x="4646613" y="781050"/>
                      <a:pt x="4791075" y="876300"/>
                    </a:cubicBezTo>
                    <a:cubicBezTo>
                      <a:pt x="4935538" y="971550"/>
                      <a:pt x="5229225" y="1130300"/>
                      <a:pt x="5391150" y="1238250"/>
                    </a:cubicBezTo>
                    <a:cubicBezTo>
                      <a:pt x="5553075" y="1346200"/>
                      <a:pt x="5688013" y="1414463"/>
                      <a:pt x="5762625" y="1524000"/>
                    </a:cubicBezTo>
                    <a:cubicBezTo>
                      <a:pt x="5837237" y="1633537"/>
                      <a:pt x="5848350" y="1757363"/>
                      <a:pt x="5838825" y="1895475"/>
                    </a:cubicBezTo>
                    <a:cubicBezTo>
                      <a:pt x="5829300" y="2033588"/>
                      <a:pt x="5876925" y="2324100"/>
                      <a:pt x="5705475" y="2352675"/>
                    </a:cubicBezTo>
                    <a:cubicBezTo>
                      <a:pt x="5534025" y="2381250"/>
                      <a:pt x="5097462" y="2197100"/>
                      <a:pt x="4810125" y="2066925"/>
                    </a:cubicBezTo>
                    <a:cubicBezTo>
                      <a:pt x="4522788" y="1936750"/>
                      <a:pt x="4224338" y="1674813"/>
                      <a:pt x="3981450" y="1571625"/>
                    </a:cubicBezTo>
                    <a:cubicBezTo>
                      <a:pt x="3738563" y="1468438"/>
                      <a:pt x="3565525" y="1522412"/>
                      <a:pt x="3352800" y="1447800"/>
                    </a:cubicBezTo>
                    <a:cubicBezTo>
                      <a:pt x="3140075" y="1373188"/>
                      <a:pt x="2981325" y="1222375"/>
                      <a:pt x="2705100" y="1123950"/>
                    </a:cubicBezTo>
                    <a:cubicBezTo>
                      <a:pt x="2428875" y="1025525"/>
                      <a:pt x="2011363" y="923925"/>
                      <a:pt x="1695450" y="857250"/>
                    </a:cubicBezTo>
                    <a:cubicBezTo>
                      <a:pt x="1379538" y="790575"/>
                      <a:pt x="1092200" y="866775"/>
                      <a:pt x="809625" y="723900"/>
                    </a:cubicBezTo>
                    <a:cubicBezTo>
                      <a:pt x="527050" y="581025"/>
                      <a:pt x="263525" y="290512"/>
                      <a:pt x="0" y="0"/>
                    </a:cubicBezTo>
                  </a:path>
                </a:pathLst>
              </a:custGeom>
              <a:ln w="38100">
                <a:solidFill>
                  <a:srgbClr val="FCA60C"/>
                </a:solidFill>
              </a:ln>
            </p:spPr>
            <p:style>
              <a:lnRef idx="1">
                <a:schemeClr val="accent1"/>
              </a:lnRef>
              <a:fillRef idx="0">
                <a:schemeClr val="accent1"/>
              </a:fillRef>
              <a:effectRef idx="0">
                <a:schemeClr val="accent1"/>
              </a:effectRef>
              <a:fontRef idx="minor">
                <a:schemeClr val="tx1"/>
              </a:fontRef>
            </p:style>
            <p:txBody>
              <a:bodyPr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eaLnBrk="1" hangingPunct="1">
                  <a:defRPr/>
                </a:pPr>
                <a:endParaRPr lang="it-IT" dirty="0"/>
              </a:p>
            </p:txBody>
          </p:sp>
          <p:sp>
            <p:nvSpPr>
              <p:cNvPr id="67" name="Figura a mano libera 77">
                <a:extLst>
                  <a:ext uri="{FF2B5EF4-FFF2-40B4-BE49-F238E27FC236}">
                    <a16:creationId xmlns:a16="http://schemas.microsoft.com/office/drawing/2014/main" id="{EF3851F2-2FC4-4251-98EC-51B3B1236A0B}"/>
                  </a:ext>
                </a:extLst>
              </p:cNvPr>
              <p:cNvSpPr/>
              <p:nvPr/>
            </p:nvSpPr>
            <p:spPr bwMode="auto">
              <a:xfrm>
                <a:off x="6798339" y="2922830"/>
                <a:ext cx="3357805" cy="2564762"/>
              </a:xfrm>
              <a:custGeom>
                <a:avLst/>
                <a:gdLst>
                  <a:gd name="connsiteX0" fmla="*/ 0 w 2752725"/>
                  <a:gd name="connsiteY0" fmla="*/ 0 h 2981325"/>
                  <a:gd name="connsiteX1" fmla="*/ 504825 w 2752725"/>
                  <a:gd name="connsiteY1" fmla="*/ 180975 h 2981325"/>
                  <a:gd name="connsiteX2" fmla="*/ 828675 w 2752725"/>
                  <a:gd name="connsiteY2" fmla="*/ 523875 h 2981325"/>
                  <a:gd name="connsiteX3" fmla="*/ 1657350 w 2752725"/>
                  <a:gd name="connsiteY3" fmla="*/ 1047750 h 2981325"/>
                  <a:gd name="connsiteX4" fmla="*/ 1924050 w 2752725"/>
                  <a:gd name="connsiteY4" fmla="*/ 1323975 h 2981325"/>
                  <a:gd name="connsiteX5" fmla="*/ 1981200 w 2752725"/>
                  <a:gd name="connsiteY5" fmla="*/ 1790700 h 2981325"/>
                  <a:gd name="connsiteX6" fmla="*/ 1914525 w 2752725"/>
                  <a:gd name="connsiteY6" fmla="*/ 2143125 h 2981325"/>
                  <a:gd name="connsiteX7" fmla="*/ 2752725 w 2752725"/>
                  <a:gd name="connsiteY7" fmla="*/ 2981325 h 2981325"/>
                  <a:gd name="connsiteX0" fmla="*/ 0 w 2752725"/>
                  <a:gd name="connsiteY0" fmla="*/ 0 h 2981325"/>
                  <a:gd name="connsiteX1" fmla="*/ 504825 w 2752725"/>
                  <a:gd name="connsiteY1" fmla="*/ 180975 h 2981325"/>
                  <a:gd name="connsiteX2" fmla="*/ 828675 w 2752725"/>
                  <a:gd name="connsiteY2" fmla="*/ 523875 h 2981325"/>
                  <a:gd name="connsiteX3" fmla="*/ 1681992 w 2752725"/>
                  <a:gd name="connsiteY3" fmla="*/ 975450 h 2981325"/>
                  <a:gd name="connsiteX4" fmla="*/ 1924050 w 2752725"/>
                  <a:gd name="connsiteY4" fmla="*/ 1323975 h 2981325"/>
                  <a:gd name="connsiteX5" fmla="*/ 1981200 w 2752725"/>
                  <a:gd name="connsiteY5" fmla="*/ 1790700 h 2981325"/>
                  <a:gd name="connsiteX6" fmla="*/ 1914525 w 2752725"/>
                  <a:gd name="connsiteY6" fmla="*/ 2143125 h 2981325"/>
                  <a:gd name="connsiteX7" fmla="*/ 2752725 w 2752725"/>
                  <a:gd name="connsiteY7" fmla="*/ 2981325 h 2981325"/>
                  <a:gd name="connsiteX0" fmla="*/ 0 w 2563806"/>
                  <a:gd name="connsiteY0" fmla="*/ 0 h 2872875"/>
                  <a:gd name="connsiteX1" fmla="*/ 315906 w 2563806"/>
                  <a:gd name="connsiteY1" fmla="*/ 72525 h 2872875"/>
                  <a:gd name="connsiteX2" fmla="*/ 639756 w 2563806"/>
                  <a:gd name="connsiteY2" fmla="*/ 415425 h 2872875"/>
                  <a:gd name="connsiteX3" fmla="*/ 1493073 w 2563806"/>
                  <a:gd name="connsiteY3" fmla="*/ 867000 h 2872875"/>
                  <a:gd name="connsiteX4" fmla="*/ 1735131 w 2563806"/>
                  <a:gd name="connsiteY4" fmla="*/ 1215525 h 2872875"/>
                  <a:gd name="connsiteX5" fmla="*/ 1792281 w 2563806"/>
                  <a:gd name="connsiteY5" fmla="*/ 1682250 h 2872875"/>
                  <a:gd name="connsiteX6" fmla="*/ 1725606 w 2563806"/>
                  <a:gd name="connsiteY6" fmla="*/ 2034675 h 2872875"/>
                  <a:gd name="connsiteX7" fmla="*/ 2563806 w 2563806"/>
                  <a:gd name="connsiteY7" fmla="*/ 2872875 h 2872875"/>
                  <a:gd name="connsiteX0" fmla="*/ 0 w 2563806"/>
                  <a:gd name="connsiteY0" fmla="*/ 0 h 2872875"/>
                  <a:gd name="connsiteX1" fmla="*/ 315906 w 2563806"/>
                  <a:gd name="connsiteY1" fmla="*/ 72525 h 2872875"/>
                  <a:gd name="connsiteX2" fmla="*/ 639756 w 2563806"/>
                  <a:gd name="connsiteY2" fmla="*/ 415425 h 2872875"/>
                  <a:gd name="connsiteX3" fmla="*/ 1493073 w 2563806"/>
                  <a:gd name="connsiteY3" fmla="*/ 867000 h 2872875"/>
                  <a:gd name="connsiteX4" fmla="*/ 1735131 w 2563806"/>
                  <a:gd name="connsiteY4" fmla="*/ 1215525 h 2872875"/>
                  <a:gd name="connsiteX5" fmla="*/ 1765609 w 2563806"/>
                  <a:gd name="connsiteY5" fmla="*/ 1659515 h 2872875"/>
                  <a:gd name="connsiteX6" fmla="*/ 1725606 w 2563806"/>
                  <a:gd name="connsiteY6" fmla="*/ 2034675 h 2872875"/>
                  <a:gd name="connsiteX7" fmla="*/ 2563806 w 2563806"/>
                  <a:gd name="connsiteY7" fmla="*/ 2872875 h 28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3806" h="2872875">
                    <a:moveTo>
                      <a:pt x="0" y="0"/>
                    </a:moveTo>
                    <a:cubicBezTo>
                      <a:pt x="183356" y="46831"/>
                      <a:pt x="209280" y="3288"/>
                      <a:pt x="315906" y="72525"/>
                    </a:cubicBezTo>
                    <a:cubicBezTo>
                      <a:pt x="422532" y="141763"/>
                      <a:pt x="443562" y="283013"/>
                      <a:pt x="639756" y="415425"/>
                    </a:cubicBezTo>
                    <a:cubicBezTo>
                      <a:pt x="835950" y="547837"/>
                      <a:pt x="1310511" y="733650"/>
                      <a:pt x="1493073" y="867000"/>
                    </a:cubicBezTo>
                    <a:cubicBezTo>
                      <a:pt x="1675636" y="1000350"/>
                      <a:pt x="1689708" y="1083439"/>
                      <a:pt x="1735131" y="1215525"/>
                    </a:cubicBezTo>
                    <a:cubicBezTo>
                      <a:pt x="1780554" y="1347611"/>
                      <a:pt x="1767196" y="1522990"/>
                      <a:pt x="1765609" y="1659515"/>
                    </a:cubicBezTo>
                    <a:cubicBezTo>
                      <a:pt x="1764022" y="1796040"/>
                      <a:pt x="1597019" y="1836238"/>
                      <a:pt x="1725606" y="2034675"/>
                    </a:cubicBezTo>
                    <a:cubicBezTo>
                      <a:pt x="1854193" y="2233112"/>
                      <a:pt x="2208999" y="2552993"/>
                      <a:pt x="2563806" y="2872875"/>
                    </a:cubicBezTo>
                  </a:path>
                </a:pathLst>
              </a:cu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eaLnBrk="1" hangingPunct="1">
                  <a:defRPr/>
                </a:pPr>
                <a:endParaRPr lang="it-IT"/>
              </a:p>
            </p:txBody>
          </p:sp>
        </p:grpSp>
        <p:sp>
          <p:nvSpPr>
            <p:cNvPr id="56" name="CasellaDiTesto 55">
              <a:extLst>
                <a:ext uri="{FF2B5EF4-FFF2-40B4-BE49-F238E27FC236}">
                  <a16:creationId xmlns:a16="http://schemas.microsoft.com/office/drawing/2014/main" id="{F21A1FF2-2E7F-490F-BE67-8CF01DB3EAA8}"/>
                </a:ext>
              </a:extLst>
            </p:cNvPr>
            <p:cNvSpPr txBox="1"/>
            <p:nvPr/>
          </p:nvSpPr>
          <p:spPr>
            <a:xfrm>
              <a:off x="3809579" y="2822262"/>
              <a:ext cx="235185" cy="216396"/>
            </a:xfrm>
            <a:prstGeom prst="ellipse">
              <a:avLst/>
            </a:prstGeom>
            <a:noFill/>
            <a:ln w="19050">
              <a:solidFill>
                <a:srgbClr val="00B050"/>
              </a:solidFill>
            </a:ln>
          </p:spPr>
          <p:txBody>
            <a:bodyPr wrap="square" lIns="0" tIns="0" rIns="0" bIns="0" anchor="ctr" anchorCtr="0">
              <a:spAutoFit/>
            </a:bodyPr>
            <a:lstStyle/>
            <a:p>
              <a:pPr algn="ctr"/>
              <a:r>
                <a:rPr lang="it-IT" sz="1000" b="1" dirty="0">
                  <a:solidFill>
                    <a:srgbClr val="00B050"/>
                  </a:solidFill>
                </a:rPr>
                <a:t>1a</a:t>
              </a:r>
              <a:endParaRPr lang="it-IT" sz="1000" dirty="0"/>
            </a:p>
          </p:txBody>
        </p:sp>
        <p:sp>
          <p:nvSpPr>
            <p:cNvPr id="57" name="CasellaDiTesto 56">
              <a:extLst>
                <a:ext uri="{FF2B5EF4-FFF2-40B4-BE49-F238E27FC236}">
                  <a16:creationId xmlns:a16="http://schemas.microsoft.com/office/drawing/2014/main" id="{C3AC0CC9-A681-4B57-8614-793388E0D132}"/>
                </a:ext>
              </a:extLst>
            </p:cNvPr>
            <p:cNvSpPr txBox="1"/>
            <p:nvPr/>
          </p:nvSpPr>
          <p:spPr>
            <a:xfrm>
              <a:off x="4748981" y="3278497"/>
              <a:ext cx="231162" cy="216396"/>
            </a:xfrm>
            <a:prstGeom prst="ellipse">
              <a:avLst/>
            </a:prstGeom>
            <a:noFill/>
            <a:ln w="19050">
              <a:solidFill>
                <a:srgbClr val="003300"/>
              </a:solidFill>
            </a:ln>
          </p:spPr>
          <p:txBody>
            <a:bodyPr wrap="square" lIns="0" tIns="0" rIns="0" bIns="0" anchor="ctr" anchorCtr="0">
              <a:spAutoFit/>
            </a:bodyPr>
            <a:lstStyle/>
            <a:p>
              <a:pPr algn="ctr"/>
              <a:r>
                <a:rPr lang="it-IT" sz="1000" b="1" dirty="0">
                  <a:solidFill>
                    <a:srgbClr val="003300"/>
                  </a:solidFill>
                </a:rPr>
                <a:t>1b</a:t>
              </a:r>
              <a:endParaRPr lang="it-IT" sz="1000" dirty="0">
                <a:solidFill>
                  <a:srgbClr val="003300"/>
                </a:solidFill>
              </a:endParaRPr>
            </a:p>
          </p:txBody>
        </p:sp>
        <p:sp>
          <p:nvSpPr>
            <p:cNvPr id="58" name="CasellaDiTesto 57">
              <a:extLst>
                <a:ext uri="{FF2B5EF4-FFF2-40B4-BE49-F238E27FC236}">
                  <a16:creationId xmlns:a16="http://schemas.microsoft.com/office/drawing/2014/main" id="{1A2628D9-AC3B-45C0-B05F-4445690032E1}"/>
                </a:ext>
              </a:extLst>
            </p:cNvPr>
            <p:cNvSpPr txBox="1"/>
            <p:nvPr/>
          </p:nvSpPr>
          <p:spPr>
            <a:xfrm>
              <a:off x="5421363" y="3768971"/>
              <a:ext cx="231162" cy="204320"/>
            </a:xfrm>
            <a:prstGeom prst="ellipse">
              <a:avLst/>
            </a:prstGeom>
            <a:noFill/>
            <a:ln w="19050">
              <a:solidFill>
                <a:srgbClr val="004C7B"/>
              </a:solidFill>
            </a:ln>
          </p:spPr>
          <p:txBody>
            <a:bodyPr wrap="square" lIns="0" tIns="0" rIns="0" bIns="0" anchor="ctr" anchorCtr="0">
              <a:spAutoFit/>
            </a:bodyPr>
            <a:lstStyle/>
            <a:p>
              <a:pPr algn="ctr"/>
              <a:r>
                <a:rPr lang="it-IT" sz="1000" b="1" dirty="0">
                  <a:solidFill>
                    <a:srgbClr val="004C7B"/>
                  </a:solidFill>
                </a:rPr>
                <a:t>2a</a:t>
              </a:r>
              <a:endParaRPr lang="it-IT" sz="1000" dirty="0">
                <a:solidFill>
                  <a:srgbClr val="004C7B"/>
                </a:solidFill>
              </a:endParaRPr>
            </a:p>
          </p:txBody>
        </p:sp>
        <p:sp>
          <p:nvSpPr>
            <p:cNvPr id="59" name="CasellaDiTesto 58">
              <a:extLst>
                <a:ext uri="{FF2B5EF4-FFF2-40B4-BE49-F238E27FC236}">
                  <a16:creationId xmlns:a16="http://schemas.microsoft.com/office/drawing/2014/main" id="{2495CF88-68E7-42E6-9480-1D88D1346D73}"/>
                </a:ext>
              </a:extLst>
            </p:cNvPr>
            <p:cNvSpPr txBox="1"/>
            <p:nvPr/>
          </p:nvSpPr>
          <p:spPr>
            <a:xfrm>
              <a:off x="2629132" y="2681057"/>
              <a:ext cx="231162" cy="216396"/>
            </a:xfrm>
            <a:prstGeom prst="ellipse">
              <a:avLst/>
            </a:prstGeom>
            <a:noFill/>
            <a:ln w="19050">
              <a:solidFill>
                <a:srgbClr val="FCA60C"/>
              </a:solidFill>
            </a:ln>
          </p:spPr>
          <p:txBody>
            <a:bodyPr wrap="square" lIns="0" tIns="0" rIns="0" bIns="0" anchor="ctr" anchorCtr="0">
              <a:spAutoFit/>
            </a:bodyPr>
            <a:lstStyle/>
            <a:p>
              <a:pPr algn="ctr"/>
              <a:r>
                <a:rPr lang="it-IT" sz="1000" b="1" dirty="0">
                  <a:solidFill>
                    <a:srgbClr val="FCA60C"/>
                  </a:solidFill>
                </a:rPr>
                <a:t>3b</a:t>
              </a:r>
              <a:endParaRPr lang="it-IT" sz="1000" dirty="0">
                <a:solidFill>
                  <a:srgbClr val="FCA60C"/>
                </a:solidFill>
              </a:endParaRPr>
            </a:p>
          </p:txBody>
        </p:sp>
        <p:sp>
          <p:nvSpPr>
            <p:cNvPr id="60" name="CasellaDiTesto 59">
              <a:extLst>
                <a:ext uri="{FF2B5EF4-FFF2-40B4-BE49-F238E27FC236}">
                  <a16:creationId xmlns:a16="http://schemas.microsoft.com/office/drawing/2014/main" id="{A90CB668-0938-4E29-BD88-86D3E6AF870A}"/>
                </a:ext>
              </a:extLst>
            </p:cNvPr>
            <p:cNvSpPr txBox="1"/>
            <p:nvPr/>
          </p:nvSpPr>
          <p:spPr>
            <a:xfrm>
              <a:off x="2232525" y="2026629"/>
              <a:ext cx="231162" cy="216396"/>
            </a:xfrm>
            <a:prstGeom prst="ellipse">
              <a:avLst/>
            </a:prstGeom>
            <a:noFill/>
            <a:ln w="19050">
              <a:solidFill>
                <a:srgbClr val="F0720A"/>
              </a:solidFill>
            </a:ln>
          </p:spPr>
          <p:txBody>
            <a:bodyPr wrap="square" lIns="0" tIns="0" rIns="0" bIns="0" anchor="ctr" anchorCtr="0">
              <a:spAutoFit/>
            </a:bodyPr>
            <a:lstStyle/>
            <a:p>
              <a:pPr algn="ctr"/>
              <a:r>
                <a:rPr lang="it-IT" sz="1000" b="1" dirty="0">
                  <a:solidFill>
                    <a:srgbClr val="F0720A"/>
                  </a:solidFill>
                </a:rPr>
                <a:t>3a</a:t>
              </a:r>
              <a:endParaRPr lang="it-IT" sz="1000" dirty="0">
                <a:solidFill>
                  <a:srgbClr val="F0720A"/>
                </a:solidFill>
              </a:endParaRPr>
            </a:p>
          </p:txBody>
        </p:sp>
      </p:grpSp>
      <p:grpSp>
        <p:nvGrpSpPr>
          <p:cNvPr id="68" name="Gruppo 67">
            <a:extLst>
              <a:ext uri="{FF2B5EF4-FFF2-40B4-BE49-F238E27FC236}">
                <a16:creationId xmlns:a16="http://schemas.microsoft.com/office/drawing/2014/main" id="{FAD1AD37-B8C5-410E-896F-4DC8758005CE}"/>
              </a:ext>
            </a:extLst>
          </p:cNvPr>
          <p:cNvGrpSpPr/>
          <p:nvPr/>
        </p:nvGrpSpPr>
        <p:grpSpPr>
          <a:xfrm>
            <a:off x="6193948" y="2029168"/>
            <a:ext cx="5475467" cy="2764712"/>
            <a:chOff x="6269943" y="1963416"/>
            <a:chExt cx="5281248" cy="2610432"/>
          </a:xfrm>
        </p:grpSpPr>
        <p:grpSp>
          <p:nvGrpSpPr>
            <p:cNvPr id="69" name="Gruppo 26">
              <a:extLst>
                <a:ext uri="{FF2B5EF4-FFF2-40B4-BE49-F238E27FC236}">
                  <a16:creationId xmlns:a16="http://schemas.microsoft.com/office/drawing/2014/main" id="{C5BCABD8-F1EB-4B31-861D-EEEBE2F397F8}"/>
                </a:ext>
              </a:extLst>
            </p:cNvPr>
            <p:cNvGrpSpPr>
              <a:grpSpLocks/>
            </p:cNvGrpSpPr>
            <p:nvPr/>
          </p:nvGrpSpPr>
          <p:grpSpPr bwMode="auto">
            <a:xfrm>
              <a:off x="6269943" y="1963416"/>
              <a:ext cx="5281248" cy="2610432"/>
              <a:chOff x="592137" y="946663"/>
              <a:chExt cx="7826083" cy="4760923"/>
            </a:xfrm>
          </p:grpSpPr>
          <p:pic>
            <p:nvPicPr>
              <p:cNvPr id="76" name="Picture 1">
                <a:extLst>
                  <a:ext uri="{FF2B5EF4-FFF2-40B4-BE49-F238E27FC236}">
                    <a16:creationId xmlns:a16="http://schemas.microsoft.com/office/drawing/2014/main" id="{602B9562-99A0-4FE1-89CF-75F186C8E3E2}"/>
                  </a:ext>
                </a:extLst>
              </p:cNvPr>
              <p:cNvPicPr>
                <a:picLocks noChangeAspect="1" noChangeArrowheads="1"/>
              </p:cNvPicPr>
              <p:nvPr/>
            </p:nvPicPr>
            <p:blipFill rotWithShape="1">
              <a:blip r:embed="rId5">
                <a:lum bright="10000"/>
                <a:grayscl/>
                <a:extLst>
                  <a:ext uri="{28A0092B-C50C-407E-A947-70E740481C1C}">
                    <a14:useLocalDpi xmlns:a14="http://schemas.microsoft.com/office/drawing/2010/main" val="0"/>
                  </a:ext>
                </a:extLst>
              </a:blip>
              <a:srcRect t="29964" r="1679" b="2874"/>
              <a:stretch/>
            </p:blipFill>
            <p:spPr bwMode="auto">
              <a:xfrm>
                <a:off x="592137" y="946663"/>
                <a:ext cx="7826083" cy="476092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77" name="Figura a mano libera 18">
                <a:extLst>
                  <a:ext uri="{FF2B5EF4-FFF2-40B4-BE49-F238E27FC236}">
                    <a16:creationId xmlns:a16="http://schemas.microsoft.com/office/drawing/2014/main" id="{E43EE892-F3CE-4226-83C7-25C47C734492}"/>
                  </a:ext>
                </a:extLst>
              </p:cNvPr>
              <p:cNvSpPr/>
              <p:nvPr/>
            </p:nvSpPr>
            <p:spPr>
              <a:xfrm>
                <a:off x="1268838" y="1866613"/>
                <a:ext cx="6577754" cy="3201154"/>
              </a:xfrm>
              <a:custGeom>
                <a:avLst/>
                <a:gdLst>
                  <a:gd name="connsiteX0" fmla="*/ 6648450 w 6648450"/>
                  <a:gd name="connsiteY0" fmla="*/ 3200400 h 3200400"/>
                  <a:gd name="connsiteX1" fmla="*/ 5886450 w 6648450"/>
                  <a:gd name="connsiteY1" fmla="*/ 2457450 h 3200400"/>
                  <a:gd name="connsiteX2" fmla="*/ 5048250 w 6648450"/>
                  <a:gd name="connsiteY2" fmla="*/ 2095500 h 3200400"/>
                  <a:gd name="connsiteX3" fmla="*/ 3933825 w 6648450"/>
                  <a:gd name="connsiteY3" fmla="*/ 1504950 h 3200400"/>
                  <a:gd name="connsiteX4" fmla="*/ 3200400 w 6648450"/>
                  <a:gd name="connsiteY4" fmla="*/ 1333500 h 3200400"/>
                  <a:gd name="connsiteX5" fmla="*/ 2400300 w 6648450"/>
                  <a:gd name="connsiteY5" fmla="*/ 981075 h 3200400"/>
                  <a:gd name="connsiteX6" fmla="*/ 1304925 w 6648450"/>
                  <a:gd name="connsiteY6" fmla="*/ 781050 h 3200400"/>
                  <a:gd name="connsiteX7" fmla="*/ 895350 w 6648450"/>
                  <a:gd name="connsiteY7" fmla="*/ 742950 h 3200400"/>
                  <a:gd name="connsiteX8" fmla="*/ 381000 w 6648450"/>
                  <a:gd name="connsiteY8" fmla="*/ 390525 h 3200400"/>
                  <a:gd name="connsiteX9" fmla="*/ 0 w 6648450"/>
                  <a:gd name="connsiteY9" fmla="*/ 0 h 320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48450" h="3200400">
                    <a:moveTo>
                      <a:pt x="6648450" y="3200400"/>
                    </a:moveTo>
                    <a:cubicBezTo>
                      <a:pt x="6400800" y="2921000"/>
                      <a:pt x="6153150" y="2641600"/>
                      <a:pt x="5886450" y="2457450"/>
                    </a:cubicBezTo>
                    <a:cubicBezTo>
                      <a:pt x="5619750" y="2273300"/>
                      <a:pt x="5373687" y="2254250"/>
                      <a:pt x="5048250" y="2095500"/>
                    </a:cubicBezTo>
                    <a:cubicBezTo>
                      <a:pt x="4722813" y="1936750"/>
                      <a:pt x="4241800" y="1631950"/>
                      <a:pt x="3933825" y="1504950"/>
                    </a:cubicBezTo>
                    <a:cubicBezTo>
                      <a:pt x="3625850" y="1377950"/>
                      <a:pt x="3455987" y="1420812"/>
                      <a:pt x="3200400" y="1333500"/>
                    </a:cubicBezTo>
                    <a:cubicBezTo>
                      <a:pt x="2944813" y="1246188"/>
                      <a:pt x="2716213" y="1073150"/>
                      <a:pt x="2400300" y="981075"/>
                    </a:cubicBezTo>
                    <a:cubicBezTo>
                      <a:pt x="2084388" y="889000"/>
                      <a:pt x="1555750" y="820737"/>
                      <a:pt x="1304925" y="781050"/>
                    </a:cubicBezTo>
                    <a:cubicBezTo>
                      <a:pt x="1054100" y="741363"/>
                      <a:pt x="1049337" y="808037"/>
                      <a:pt x="895350" y="742950"/>
                    </a:cubicBezTo>
                    <a:cubicBezTo>
                      <a:pt x="741363" y="677863"/>
                      <a:pt x="530225" y="514350"/>
                      <a:pt x="381000" y="390525"/>
                    </a:cubicBezTo>
                    <a:cubicBezTo>
                      <a:pt x="231775" y="266700"/>
                      <a:pt x="115887" y="133350"/>
                      <a:pt x="0" y="0"/>
                    </a:cubicBezTo>
                  </a:path>
                </a:pathLst>
              </a:custGeom>
              <a:ln w="38100">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txBody>
              <a:bodyPr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eaLnBrk="1" hangingPunct="1">
                  <a:defRPr/>
                </a:pPr>
                <a:endParaRPr lang="it-IT"/>
              </a:p>
            </p:txBody>
          </p:sp>
          <p:sp>
            <p:nvSpPr>
              <p:cNvPr id="78" name="Figura a mano libera 19">
                <a:extLst>
                  <a:ext uri="{FF2B5EF4-FFF2-40B4-BE49-F238E27FC236}">
                    <a16:creationId xmlns:a16="http://schemas.microsoft.com/office/drawing/2014/main" id="{94F75F7A-00CC-43E5-AAE4-AED49AE58F6B}"/>
                  </a:ext>
                </a:extLst>
              </p:cNvPr>
              <p:cNvSpPr/>
              <p:nvPr/>
            </p:nvSpPr>
            <p:spPr>
              <a:xfrm>
                <a:off x="4720010" y="2219656"/>
                <a:ext cx="613693" cy="1323912"/>
              </a:xfrm>
              <a:custGeom>
                <a:avLst/>
                <a:gdLst>
                  <a:gd name="connsiteX0" fmla="*/ 309563 w 771526"/>
                  <a:gd name="connsiteY0" fmla="*/ 0 h 1323975"/>
                  <a:gd name="connsiteX1" fmla="*/ 242888 w 771526"/>
                  <a:gd name="connsiteY1" fmla="*/ 457200 h 1323975"/>
                  <a:gd name="connsiteX2" fmla="*/ 128588 w 771526"/>
                  <a:gd name="connsiteY2" fmla="*/ 762000 h 1323975"/>
                  <a:gd name="connsiteX3" fmla="*/ 90488 w 771526"/>
                  <a:gd name="connsiteY3" fmla="*/ 952500 h 1323975"/>
                  <a:gd name="connsiteX4" fmla="*/ 671513 w 771526"/>
                  <a:gd name="connsiteY4" fmla="*/ 1123950 h 1323975"/>
                  <a:gd name="connsiteX5" fmla="*/ 690563 w 771526"/>
                  <a:gd name="connsiteY5" fmla="*/ 1323975 h 1323975"/>
                  <a:gd name="connsiteX0" fmla="*/ 254567 w 679025"/>
                  <a:gd name="connsiteY0" fmla="*/ 0 h 1323975"/>
                  <a:gd name="connsiteX1" fmla="*/ 154605 w 679025"/>
                  <a:gd name="connsiteY1" fmla="*/ 449066 h 1323975"/>
                  <a:gd name="connsiteX2" fmla="*/ 73592 w 679025"/>
                  <a:gd name="connsiteY2" fmla="*/ 762000 h 1323975"/>
                  <a:gd name="connsiteX3" fmla="*/ 35492 w 679025"/>
                  <a:gd name="connsiteY3" fmla="*/ 952500 h 1323975"/>
                  <a:gd name="connsiteX4" fmla="*/ 616517 w 679025"/>
                  <a:gd name="connsiteY4" fmla="*/ 1123950 h 1323975"/>
                  <a:gd name="connsiteX5" fmla="*/ 635567 w 679025"/>
                  <a:gd name="connsiteY5" fmla="*/ 1323975 h 1323975"/>
                  <a:gd name="connsiteX0" fmla="*/ 255360 w 679819"/>
                  <a:gd name="connsiteY0" fmla="*/ 0 h 1323975"/>
                  <a:gd name="connsiteX1" fmla="*/ 182028 w 679819"/>
                  <a:gd name="connsiteY1" fmla="*/ 457203 h 1323975"/>
                  <a:gd name="connsiteX2" fmla="*/ 74385 w 679819"/>
                  <a:gd name="connsiteY2" fmla="*/ 762000 h 1323975"/>
                  <a:gd name="connsiteX3" fmla="*/ 36285 w 679819"/>
                  <a:gd name="connsiteY3" fmla="*/ 952500 h 1323975"/>
                  <a:gd name="connsiteX4" fmla="*/ 617310 w 679819"/>
                  <a:gd name="connsiteY4" fmla="*/ 1123950 h 1323975"/>
                  <a:gd name="connsiteX5" fmla="*/ 636360 w 679819"/>
                  <a:gd name="connsiteY5" fmla="*/ 1323975 h 1323975"/>
                  <a:gd name="connsiteX0" fmla="*/ 255360 w 679819"/>
                  <a:gd name="connsiteY0" fmla="*/ 0 h 1323975"/>
                  <a:gd name="connsiteX1" fmla="*/ 182028 w 679819"/>
                  <a:gd name="connsiteY1" fmla="*/ 457203 h 1323975"/>
                  <a:gd name="connsiteX2" fmla="*/ 74385 w 679819"/>
                  <a:gd name="connsiteY2" fmla="*/ 762000 h 1323975"/>
                  <a:gd name="connsiteX3" fmla="*/ 36285 w 679819"/>
                  <a:gd name="connsiteY3" fmla="*/ 952500 h 1323975"/>
                  <a:gd name="connsiteX4" fmla="*/ 617310 w 679819"/>
                  <a:gd name="connsiteY4" fmla="*/ 1123950 h 1323975"/>
                  <a:gd name="connsiteX5" fmla="*/ 636360 w 679819"/>
                  <a:gd name="connsiteY5" fmla="*/ 1323975 h 1323975"/>
                  <a:gd name="connsiteX0" fmla="*/ 251779 w 655484"/>
                  <a:gd name="connsiteY0" fmla="*/ 0 h 1323975"/>
                  <a:gd name="connsiteX1" fmla="*/ 178447 w 655484"/>
                  <a:gd name="connsiteY1" fmla="*/ 457203 h 1323975"/>
                  <a:gd name="connsiteX2" fmla="*/ 70804 w 655484"/>
                  <a:gd name="connsiteY2" fmla="*/ 762000 h 1323975"/>
                  <a:gd name="connsiteX3" fmla="*/ 32704 w 655484"/>
                  <a:gd name="connsiteY3" fmla="*/ 952500 h 1323975"/>
                  <a:gd name="connsiteX4" fmla="*/ 564792 w 655484"/>
                  <a:gd name="connsiteY4" fmla="*/ 1143884 h 1323975"/>
                  <a:gd name="connsiteX5" fmla="*/ 632779 w 655484"/>
                  <a:gd name="connsiteY5" fmla="*/ 1323975 h 1323975"/>
                  <a:gd name="connsiteX0" fmla="*/ 214167 w 617872"/>
                  <a:gd name="connsiteY0" fmla="*/ 0 h 1323975"/>
                  <a:gd name="connsiteX1" fmla="*/ 140835 w 617872"/>
                  <a:gd name="connsiteY1" fmla="*/ 457203 h 1323975"/>
                  <a:gd name="connsiteX2" fmla="*/ 33192 w 617872"/>
                  <a:gd name="connsiteY2" fmla="*/ 762000 h 1323975"/>
                  <a:gd name="connsiteX3" fmla="*/ 44032 w 617872"/>
                  <a:gd name="connsiteY3" fmla="*/ 972436 h 1323975"/>
                  <a:gd name="connsiteX4" fmla="*/ 527180 w 617872"/>
                  <a:gd name="connsiteY4" fmla="*/ 1143884 h 1323975"/>
                  <a:gd name="connsiteX5" fmla="*/ 595167 w 617872"/>
                  <a:gd name="connsiteY5" fmla="*/ 1323975 h 1323975"/>
                  <a:gd name="connsiteX0" fmla="*/ 213904 w 617609"/>
                  <a:gd name="connsiteY0" fmla="*/ 0 h 1323975"/>
                  <a:gd name="connsiteX1" fmla="*/ 135135 w 617609"/>
                  <a:gd name="connsiteY1" fmla="*/ 410691 h 1323975"/>
                  <a:gd name="connsiteX2" fmla="*/ 32929 w 617609"/>
                  <a:gd name="connsiteY2" fmla="*/ 762000 h 1323975"/>
                  <a:gd name="connsiteX3" fmla="*/ 43769 w 617609"/>
                  <a:gd name="connsiteY3" fmla="*/ 972436 h 1323975"/>
                  <a:gd name="connsiteX4" fmla="*/ 526917 w 617609"/>
                  <a:gd name="connsiteY4" fmla="*/ 1143884 h 1323975"/>
                  <a:gd name="connsiteX5" fmla="*/ 594904 w 617609"/>
                  <a:gd name="connsiteY5" fmla="*/ 1323975 h 1323975"/>
                  <a:gd name="connsiteX0" fmla="*/ 213904 w 617609"/>
                  <a:gd name="connsiteY0" fmla="*/ 0 h 1323975"/>
                  <a:gd name="connsiteX1" fmla="*/ 135135 w 617609"/>
                  <a:gd name="connsiteY1" fmla="*/ 410691 h 1323975"/>
                  <a:gd name="connsiteX2" fmla="*/ 32929 w 617609"/>
                  <a:gd name="connsiteY2" fmla="*/ 762000 h 1323975"/>
                  <a:gd name="connsiteX3" fmla="*/ 43769 w 617609"/>
                  <a:gd name="connsiteY3" fmla="*/ 972436 h 1323975"/>
                  <a:gd name="connsiteX4" fmla="*/ 526917 w 617609"/>
                  <a:gd name="connsiteY4" fmla="*/ 1143884 h 1323975"/>
                  <a:gd name="connsiteX5" fmla="*/ 594904 w 617609"/>
                  <a:gd name="connsiteY5" fmla="*/ 1323975 h 1323975"/>
                  <a:gd name="connsiteX0" fmla="*/ 215238 w 618943"/>
                  <a:gd name="connsiteY0" fmla="*/ 0 h 1323975"/>
                  <a:gd name="connsiteX1" fmla="*/ 163657 w 618943"/>
                  <a:gd name="connsiteY1" fmla="*/ 417336 h 1323975"/>
                  <a:gd name="connsiteX2" fmla="*/ 34263 w 618943"/>
                  <a:gd name="connsiteY2" fmla="*/ 762000 h 1323975"/>
                  <a:gd name="connsiteX3" fmla="*/ 45103 w 618943"/>
                  <a:gd name="connsiteY3" fmla="*/ 972436 h 1323975"/>
                  <a:gd name="connsiteX4" fmla="*/ 528251 w 618943"/>
                  <a:gd name="connsiteY4" fmla="*/ 1143884 h 1323975"/>
                  <a:gd name="connsiteX5" fmla="*/ 596238 w 618943"/>
                  <a:gd name="connsiteY5" fmla="*/ 1323975 h 1323975"/>
                  <a:gd name="connsiteX0" fmla="*/ 215238 w 618943"/>
                  <a:gd name="connsiteY0" fmla="*/ 0 h 1323975"/>
                  <a:gd name="connsiteX1" fmla="*/ 163657 w 618943"/>
                  <a:gd name="connsiteY1" fmla="*/ 417336 h 1323975"/>
                  <a:gd name="connsiteX2" fmla="*/ 34263 w 618943"/>
                  <a:gd name="connsiteY2" fmla="*/ 762000 h 1323975"/>
                  <a:gd name="connsiteX3" fmla="*/ 45103 w 618943"/>
                  <a:gd name="connsiteY3" fmla="*/ 972436 h 1323975"/>
                  <a:gd name="connsiteX4" fmla="*/ 528251 w 618943"/>
                  <a:gd name="connsiteY4" fmla="*/ 1143884 h 1323975"/>
                  <a:gd name="connsiteX5" fmla="*/ 596238 w 618943"/>
                  <a:gd name="connsiteY5" fmla="*/ 1323975 h 1323975"/>
                  <a:gd name="connsiteX0" fmla="*/ 214432 w 618137"/>
                  <a:gd name="connsiteY0" fmla="*/ 0 h 1323975"/>
                  <a:gd name="connsiteX1" fmla="*/ 146538 w 618137"/>
                  <a:gd name="connsiteY1" fmla="*/ 417336 h 1323975"/>
                  <a:gd name="connsiteX2" fmla="*/ 33457 w 618137"/>
                  <a:gd name="connsiteY2" fmla="*/ 762000 h 1323975"/>
                  <a:gd name="connsiteX3" fmla="*/ 44297 w 618137"/>
                  <a:gd name="connsiteY3" fmla="*/ 972436 h 1323975"/>
                  <a:gd name="connsiteX4" fmla="*/ 527445 w 618137"/>
                  <a:gd name="connsiteY4" fmla="*/ 1143884 h 1323975"/>
                  <a:gd name="connsiteX5" fmla="*/ 595432 w 618137"/>
                  <a:gd name="connsiteY5" fmla="*/ 1323975 h 1323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8137" h="1323975">
                    <a:moveTo>
                      <a:pt x="214432" y="0"/>
                    </a:moveTo>
                    <a:cubicBezTo>
                      <a:pt x="196175" y="165100"/>
                      <a:pt x="193013" y="290335"/>
                      <a:pt x="146538" y="417336"/>
                    </a:cubicBezTo>
                    <a:cubicBezTo>
                      <a:pt x="100063" y="544337"/>
                      <a:pt x="50497" y="669483"/>
                      <a:pt x="33457" y="762000"/>
                    </a:cubicBezTo>
                    <a:cubicBezTo>
                      <a:pt x="16417" y="854517"/>
                      <a:pt x="-38034" y="908789"/>
                      <a:pt x="44297" y="972436"/>
                    </a:cubicBezTo>
                    <a:cubicBezTo>
                      <a:pt x="126628" y="1036083"/>
                      <a:pt x="427432" y="1081971"/>
                      <a:pt x="527445" y="1143884"/>
                    </a:cubicBezTo>
                    <a:cubicBezTo>
                      <a:pt x="627458" y="1205797"/>
                      <a:pt x="635913" y="1254919"/>
                      <a:pt x="595432" y="1323975"/>
                    </a:cubicBezTo>
                  </a:path>
                </a:pathLst>
              </a:custGeom>
              <a:ln w="38100">
                <a:solidFill>
                  <a:srgbClr val="008000"/>
                </a:solidFill>
              </a:ln>
            </p:spPr>
            <p:style>
              <a:lnRef idx="1">
                <a:schemeClr val="accent1"/>
              </a:lnRef>
              <a:fillRef idx="0">
                <a:schemeClr val="accent1"/>
              </a:fillRef>
              <a:effectRef idx="0">
                <a:schemeClr val="accent1"/>
              </a:effectRef>
              <a:fontRef idx="minor">
                <a:schemeClr val="tx1"/>
              </a:fontRef>
            </p:style>
            <p:txBody>
              <a:bodyPr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eaLnBrk="1" hangingPunct="1">
                  <a:defRPr/>
                </a:pPr>
                <a:endParaRPr lang="it-IT" dirty="0"/>
              </a:p>
            </p:txBody>
          </p:sp>
          <p:sp>
            <p:nvSpPr>
              <p:cNvPr id="79" name="Figura a mano libera 24">
                <a:extLst>
                  <a:ext uri="{FF2B5EF4-FFF2-40B4-BE49-F238E27FC236}">
                    <a16:creationId xmlns:a16="http://schemas.microsoft.com/office/drawing/2014/main" id="{EDF231F1-B7EB-4F4A-BB59-E3272061A338}"/>
                  </a:ext>
                </a:extLst>
              </p:cNvPr>
              <p:cNvSpPr/>
              <p:nvPr/>
            </p:nvSpPr>
            <p:spPr>
              <a:xfrm>
                <a:off x="4790793" y="2228142"/>
                <a:ext cx="3084363" cy="2753060"/>
              </a:xfrm>
              <a:custGeom>
                <a:avLst/>
                <a:gdLst>
                  <a:gd name="connsiteX0" fmla="*/ 273050 w 3206750"/>
                  <a:gd name="connsiteY0" fmla="*/ 0 h 2752725"/>
                  <a:gd name="connsiteX1" fmla="*/ 187325 w 3206750"/>
                  <a:gd name="connsiteY1" fmla="*/ 561975 h 2752725"/>
                  <a:gd name="connsiteX2" fmla="*/ 73025 w 3206750"/>
                  <a:gd name="connsiteY2" fmla="*/ 857250 h 2752725"/>
                  <a:gd name="connsiteX3" fmla="*/ 625475 w 3206750"/>
                  <a:gd name="connsiteY3" fmla="*/ 1057275 h 2752725"/>
                  <a:gd name="connsiteX4" fmla="*/ 873125 w 3206750"/>
                  <a:gd name="connsiteY4" fmla="*/ 1266825 h 2752725"/>
                  <a:gd name="connsiteX5" fmla="*/ 1577975 w 3206750"/>
                  <a:gd name="connsiteY5" fmla="*/ 1638300 h 2752725"/>
                  <a:gd name="connsiteX6" fmla="*/ 2349500 w 3206750"/>
                  <a:gd name="connsiteY6" fmla="*/ 1933575 h 2752725"/>
                  <a:gd name="connsiteX7" fmla="*/ 3206750 w 3206750"/>
                  <a:gd name="connsiteY7" fmla="*/ 2752725 h 2752725"/>
                  <a:gd name="connsiteX0" fmla="*/ 219453 w 3153153"/>
                  <a:gd name="connsiteY0" fmla="*/ 0 h 2752725"/>
                  <a:gd name="connsiteX1" fmla="*/ 133728 w 3153153"/>
                  <a:gd name="connsiteY1" fmla="*/ 561975 h 2752725"/>
                  <a:gd name="connsiteX2" fmla="*/ 19427 w 3153153"/>
                  <a:gd name="connsiteY2" fmla="*/ 897922 h 2752725"/>
                  <a:gd name="connsiteX3" fmla="*/ 571878 w 3153153"/>
                  <a:gd name="connsiteY3" fmla="*/ 1057275 h 2752725"/>
                  <a:gd name="connsiteX4" fmla="*/ 819528 w 3153153"/>
                  <a:gd name="connsiteY4" fmla="*/ 1266825 h 2752725"/>
                  <a:gd name="connsiteX5" fmla="*/ 1524378 w 3153153"/>
                  <a:gd name="connsiteY5" fmla="*/ 1638300 h 2752725"/>
                  <a:gd name="connsiteX6" fmla="*/ 2295903 w 3153153"/>
                  <a:gd name="connsiteY6" fmla="*/ 1933575 h 2752725"/>
                  <a:gd name="connsiteX7" fmla="*/ 3153153 w 3153153"/>
                  <a:gd name="connsiteY7" fmla="*/ 2752725 h 2752725"/>
                  <a:gd name="connsiteX0" fmla="*/ 222847 w 3156547"/>
                  <a:gd name="connsiteY0" fmla="*/ 0 h 2752725"/>
                  <a:gd name="connsiteX1" fmla="*/ 116890 w 3156547"/>
                  <a:gd name="connsiteY1" fmla="*/ 553841 h 2752725"/>
                  <a:gd name="connsiteX2" fmla="*/ 22821 w 3156547"/>
                  <a:gd name="connsiteY2" fmla="*/ 897922 h 2752725"/>
                  <a:gd name="connsiteX3" fmla="*/ 575272 w 3156547"/>
                  <a:gd name="connsiteY3" fmla="*/ 1057275 h 2752725"/>
                  <a:gd name="connsiteX4" fmla="*/ 822922 w 3156547"/>
                  <a:gd name="connsiteY4" fmla="*/ 1266825 h 2752725"/>
                  <a:gd name="connsiteX5" fmla="*/ 1527772 w 3156547"/>
                  <a:gd name="connsiteY5" fmla="*/ 1638300 h 2752725"/>
                  <a:gd name="connsiteX6" fmla="*/ 2299297 w 3156547"/>
                  <a:gd name="connsiteY6" fmla="*/ 1933575 h 2752725"/>
                  <a:gd name="connsiteX7" fmla="*/ 3156547 w 3156547"/>
                  <a:gd name="connsiteY7" fmla="*/ 2752725 h 2752725"/>
                  <a:gd name="connsiteX0" fmla="*/ 193007 w 3126707"/>
                  <a:gd name="connsiteY0" fmla="*/ 0 h 2752725"/>
                  <a:gd name="connsiteX1" fmla="*/ 87050 w 3126707"/>
                  <a:gd name="connsiteY1" fmla="*/ 553841 h 2752725"/>
                  <a:gd name="connsiteX2" fmla="*/ 26699 w 3126707"/>
                  <a:gd name="connsiteY2" fmla="*/ 922324 h 2752725"/>
                  <a:gd name="connsiteX3" fmla="*/ 545432 w 3126707"/>
                  <a:gd name="connsiteY3" fmla="*/ 1057275 h 2752725"/>
                  <a:gd name="connsiteX4" fmla="*/ 793082 w 3126707"/>
                  <a:gd name="connsiteY4" fmla="*/ 1266825 h 2752725"/>
                  <a:gd name="connsiteX5" fmla="*/ 1497932 w 3126707"/>
                  <a:gd name="connsiteY5" fmla="*/ 1638300 h 2752725"/>
                  <a:gd name="connsiteX6" fmla="*/ 2269457 w 3126707"/>
                  <a:gd name="connsiteY6" fmla="*/ 1933575 h 2752725"/>
                  <a:gd name="connsiteX7" fmla="*/ 3126707 w 3126707"/>
                  <a:gd name="connsiteY7" fmla="*/ 2752725 h 2752725"/>
                  <a:gd name="connsiteX0" fmla="*/ 201630 w 3135330"/>
                  <a:gd name="connsiteY0" fmla="*/ 0 h 2752725"/>
                  <a:gd name="connsiteX1" fmla="*/ 95673 w 3135330"/>
                  <a:gd name="connsiteY1" fmla="*/ 553841 h 2752725"/>
                  <a:gd name="connsiteX2" fmla="*/ 35322 w 3135330"/>
                  <a:gd name="connsiteY2" fmla="*/ 922324 h 2752725"/>
                  <a:gd name="connsiteX3" fmla="*/ 554055 w 3135330"/>
                  <a:gd name="connsiteY3" fmla="*/ 1057275 h 2752725"/>
                  <a:gd name="connsiteX4" fmla="*/ 801705 w 3135330"/>
                  <a:gd name="connsiteY4" fmla="*/ 1266825 h 2752725"/>
                  <a:gd name="connsiteX5" fmla="*/ 1506555 w 3135330"/>
                  <a:gd name="connsiteY5" fmla="*/ 1638300 h 2752725"/>
                  <a:gd name="connsiteX6" fmla="*/ 2278080 w 3135330"/>
                  <a:gd name="connsiteY6" fmla="*/ 1933575 h 2752725"/>
                  <a:gd name="connsiteX7" fmla="*/ 3135330 w 3135330"/>
                  <a:gd name="connsiteY7" fmla="*/ 2752725 h 2752725"/>
                  <a:gd name="connsiteX0" fmla="*/ 207441 w 3141141"/>
                  <a:gd name="connsiteY0" fmla="*/ 0 h 2752725"/>
                  <a:gd name="connsiteX1" fmla="*/ 101484 w 3141141"/>
                  <a:gd name="connsiteY1" fmla="*/ 553841 h 2752725"/>
                  <a:gd name="connsiteX2" fmla="*/ 41133 w 3141141"/>
                  <a:gd name="connsiteY2" fmla="*/ 922324 h 2752725"/>
                  <a:gd name="connsiteX3" fmla="*/ 559866 w 3141141"/>
                  <a:gd name="connsiteY3" fmla="*/ 1057275 h 2752725"/>
                  <a:gd name="connsiteX4" fmla="*/ 807516 w 3141141"/>
                  <a:gd name="connsiteY4" fmla="*/ 1266825 h 2752725"/>
                  <a:gd name="connsiteX5" fmla="*/ 1512366 w 3141141"/>
                  <a:gd name="connsiteY5" fmla="*/ 1638300 h 2752725"/>
                  <a:gd name="connsiteX6" fmla="*/ 2283891 w 3141141"/>
                  <a:gd name="connsiteY6" fmla="*/ 1933575 h 2752725"/>
                  <a:gd name="connsiteX7" fmla="*/ 3141141 w 3141141"/>
                  <a:gd name="connsiteY7" fmla="*/ 2752725 h 2752725"/>
                  <a:gd name="connsiteX0" fmla="*/ 213286 w 3146986"/>
                  <a:gd name="connsiteY0" fmla="*/ 0 h 2752725"/>
                  <a:gd name="connsiteX1" fmla="*/ 107329 w 3146986"/>
                  <a:gd name="connsiteY1" fmla="*/ 553841 h 2752725"/>
                  <a:gd name="connsiteX2" fmla="*/ 46978 w 3146986"/>
                  <a:gd name="connsiteY2" fmla="*/ 922324 h 2752725"/>
                  <a:gd name="connsiteX3" fmla="*/ 565711 w 3146986"/>
                  <a:gd name="connsiteY3" fmla="*/ 1057275 h 2752725"/>
                  <a:gd name="connsiteX4" fmla="*/ 813361 w 3146986"/>
                  <a:gd name="connsiteY4" fmla="*/ 1266825 h 2752725"/>
                  <a:gd name="connsiteX5" fmla="*/ 1518211 w 3146986"/>
                  <a:gd name="connsiteY5" fmla="*/ 1638300 h 2752725"/>
                  <a:gd name="connsiteX6" fmla="*/ 2289736 w 3146986"/>
                  <a:gd name="connsiteY6" fmla="*/ 1933575 h 2752725"/>
                  <a:gd name="connsiteX7" fmla="*/ 3146986 w 3146986"/>
                  <a:gd name="connsiteY7" fmla="*/ 2752725 h 2752725"/>
                  <a:gd name="connsiteX0" fmla="*/ 184690 w 3118390"/>
                  <a:gd name="connsiteY0" fmla="*/ 0 h 2752725"/>
                  <a:gd name="connsiteX1" fmla="*/ 122794 w 3118390"/>
                  <a:gd name="connsiteY1" fmla="*/ 394399 h 2752725"/>
                  <a:gd name="connsiteX2" fmla="*/ 18382 w 3118390"/>
                  <a:gd name="connsiteY2" fmla="*/ 922324 h 2752725"/>
                  <a:gd name="connsiteX3" fmla="*/ 537115 w 3118390"/>
                  <a:gd name="connsiteY3" fmla="*/ 1057275 h 2752725"/>
                  <a:gd name="connsiteX4" fmla="*/ 784765 w 3118390"/>
                  <a:gd name="connsiteY4" fmla="*/ 1266825 h 2752725"/>
                  <a:gd name="connsiteX5" fmla="*/ 1489615 w 3118390"/>
                  <a:gd name="connsiteY5" fmla="*/ 1638300 h 2752725"/>
                  <a:gd name="connsiteX6" fmla="*/ 2261140 w 3118390"/>
                  <a:gd name="connsiteY6" fmla="*/ 1933575 h 2752725"/>
                  <a:gd name="connsiteX7" fmla="*/ 3118390 w 3118390"/>
                  <a:gd name="connsiteY7" fmla="*/ 2752725 h 2752725"/>
                  <a:gd name="connsiteX0" fmla="*/ 186218 w 3119918"/>
                  <a:gd name="connsiteY0" fmla="*/ 0 h 2752725"/>
                  <a:gd name="connsiteX1" fmla="*/ 124322 w 3119918"/>
                  <a:gd name="connsiteY1" fmla="*/ 394399 h 2752725"/>
                  <a:gd name="connsiteX2" fmla="*/ 19910 w 3119918"/>
                  <a:gd name="connsiteY2" fmla="*/ 922324 h 2752725"/>
                  <a:gd name="connsiteX3" fmla="*/ 538643 w 3119918"/>
                  <a:gd name="connsiteY3" fmla="*/ 1057275 h 2752725"/>
                  <a:gd name="connsiteX4" fmla="*/ 786293 w 3119918"/>
                  <a:gd name="connsiteY4" fmla="*/ 1266825 h 2752725"/>
                  <a:gd name="connsiteX5" fmla="*/ 1491143 w 3119918"/>
                  <a:gd name="connsiteY5" fmla="*/ 1638300 h 2752725"/>
                  <a:gd name="connsiteX6" fmla="*/ 2262668 w 3119918"/>
                  <a:gd name="connsiteY6" fmla="*/ 1933575 h 2752725"/>
                  <a:gd name="connsiteX7" fmla="*/ 3119918 w 3119918"/>
                  <a:gd name="connsiteY7" fmla="*/ 2752725 h 2752725"/>
                  <a:gd name="connsiteX0" fmla="*/ 200001 w 3133701"/>
                  <a:gd name="connsiteY0" fmla="*/ 0 h 2752725"/>
                  <a:gd name="connsiteX1" fmla="*/ 138105 w 3133701"/>
                  <a:gd name="connsiteY1" fmla="*/ 394399 h 2752725"/>
                  <a:gd name="connsiteX2" fmla="*/ 17169 w 3133701"/>
                  <a:gd name="connsiteY2" fmla="*/ 909037 h 2752725"/>
                  <a:gd name="connsiteX3" fmla="*/ 552426 w 3133701"/>
                  <a:gd name="connsiteY3" fmla="*/ 1057275 h 2752725"/>
                  <a:gd name="connsiteX4" fmla="*/ 800076 w 3133701"/>
                  <a:gd name="connsiteY4" fmla="*/ 1266825 h 2752725"/>
                  <a:gd name="connsiteX5" fmla="*/ 1504926 w 3133701"/>
                  <a:gd name="connsiteY5" fmla="*/ 1638300 h 2752725"/>
                  <a:gd name="connsiteX6" fmla="*/ 2276451 w 3133701"/>
                  <a:gd name="connsiteY6" fmla="*/ 1933575 h 2752725"/>
                  <a:gd name="connsiteX7" fmla="*/ 3133701 w 3133701"/>
                  <a:gd name="connsiteY7" fmla="*/ 2752725 h 2752725"/>
                  <a:gd name="connsiteX0" fmla="*/ 201989 w 3135689"/>
                  <a:gd name="connsiteY0" fmla="*/ 0 h 2752725"/>
                  <a:gd name="connsiteX1" fmla="*/ 140093 w 3135689"/>
                  <a:gd name="connsiteY1" fmla="*/ 394399 h 2752725"/>
                  <a:gd name="connsiteX2" fmla="*/ 19157 w 3135689"/>
                  <a:gd name="connsiteY2" fmla="*/ 909037 h 2752725"/>
                  <a:gd name="connsiteX3" fmla="*/ 554414 w 3135689"/>
                  <a:gd name="connsiteY3" fmla="*/ 1057275 h 2752725"/>
                  <a:gd name="connsiteX4" fmla="*/ 802064 w 3135689"/>
                  <a:gd name="connsiteY4" fmla="*/ 1266825 h 2752725"/>
                  <a:gd name="connsiteX5" fmla="*/ 1506914 w 3135689"/>
                  <a:gd name="connsiteY5" fmla="*/ 1638300 h 2752725"/>
                  <a:gd name="connsiteX6" fmla="*/ 2278439 w 3135689"/>
                  <a:gd name="connsiteY6" fmla="*/ 1933575 h 2752725"/>
                  <a:gd name="connsiteX7" fmla="*/ 3135689 w 3135689"/>
                  <a:gd name="connsiteY7" fmla="*/ 2752725 h 2752725"/>
                  <a:gd name="connsiteX0" fmla="*/ 193418 w 3127118"/>
                  <a:gd name="connsiteY0" fmla="*/ 0 h 2752725"/>
                  <a:gd name="connsiteX1" fmla="*/ 131522 w 3127118"/>
                  <a:gd name="connsiteY1" fmla="*/ 394399 h 2752725"/>
                  <a:gd name="connsiteX2" fmla="*/ 10586 w 3127118"/>
                  <a:gd name="connsiteY2" fmla="*/ 909037 h 2752725"/>
                  <a:gd name="connsiteX3" fmla="*/ 430183 w 3127118"/>
                  <a:gd name="connsiteY3" fmla="*/ 1004128 h 2752725"/>
                  <a:gd name="connsiteX4" fmla="*/ 793493 w 3127118"/>
                  <a:gd name="connsiteY4" fmla="*/ 1266825 h 2752725"/>
                  <a:gd name="connsiteX5" fmla="*/ 1498343 w 3127118"/>
                  <a:gd name="connsiteY5" fmla="*/ 1638300 h 2752725"/>
                  <a:gd name="connsiteX6" fmla="*/ 2269868 w 3127118"/>
                  <a:gd name="connsiteY6" fmla="*/ 1933575 h 2752725"/>
                  <a:gd name="connsiteX7" fmla="*/ 3127118 w 3127118"/>
                  <a:gd name="connsiteY7" fmla="*/ 2752725 h 2752725"/>
                  <a:gd name="connsiteX0" fmla="*/ 172621 w 3106321"/>
                  <a:gd name="connsiteY0" fmla="*/ 0 h 2752725"/>
                  <a:gd name="connsiteX1" fmla="*/ 110725 w 3106321"/>
                  <a:gd name="connsiteY1" fmla="*/ 394399 h 2752725"/>
                  <a:gd name="connsiteX2" fmla="*/ 11819 w 3106321"/>
                  <a:gd name="connsiteY2" fmla="*/ 889107 h 2752725"/>
                  <a:gd name="connsiteX3" fmla="*/ 409386 w 3106321"/>
                  <a:gd name="connsiteY3" fmla="*/ 1004128 h 2752725"/>
                  <a:gd name="connsiteX4" fmla="*/ 772696 w 3106321"/>
                  <a:gd name="connsiteY4" fmla="*/ 1266825 h 2752725"/>
                  <a:gd name="connsiteX5" fmla="*/ 1477546 w 3106321"/>
                  <a:gd name="connsiteY5" fmla="*/ 1638300 h 2752725"/>
                  <a:gd name="connsiteX6" fmla="*/ 2249071 w 3106321"/>
                  <a:gd name="connsiteY6" fmla="*/ 1933575 h 2752725"/>
                  <a:gd name="connsiteX7" fmla="*/ 3106321 w 3106321"/>
                  <a:gd name="connsiteY7" fmla="*/ 2752725 h 2752725"/>
                  <a:gd name="connsiteX0" fmla="*/ 163269 w 3096969"/>
                  <a:gd name="connsiteY0" fmla="*/ 0 h 2752725"/>
                  <a:gd name="connsiteX1" fmla="*/ 101373 w 3096969"/>
                  <a:gd name="connsiteY1" fmla="*/ 394399 h 2752725"/>
                  <a:gd name="connsiteX2" fmla="*/ 2467 w 3096969"/>
                  <a:gd name="connsiteY2" fmla="*/ 889107 h 2752725"/>
                  <a:gd name="connsiteX3" fmla="*/ 400034 w 3096969"/>
                  <a:gd name="connsiteY3" fmla="*/ 1004128 h 2752725"/>
                  <a:gd name="connsiteX4" fmla="*/ 763344 w 3096969"/>
                  <a:gd name="connsiteY4" fmla="*/ 1266825 h 2752725"/>
                  <a:gd name="connsiteX5" fmla="*/ 1468194 w 3096969"/>
                  <a:gd name="connsiteY5" fmla="*/ 1638300 h 2752725"/>
                  <a:gd name="connsiteX6" fmla="*/ 2239719 w 3096969"/>
                  <a:gd name="connsiteY6" fmla="*/ 1933575 h 2752725"/>
                  <a:gd name="connsiteX7" fmla="*/ 3096969 w 3096969"/>
                  <a:gd name="connsiteY7" fmla="*/ 2752725 h 2752725"/>
                  <a:gd name="connsiteX0" fmla="*/ 250938 w 3184638"/>
                  <a:gd name="connsiteY0" fmla="*/ 0 h 2752725"/>
                  <a:gd name="connsiteX1" fmla="*/ 189042 w 3184638"/>
                  <a:gd name="connsiteY1" fmla="*/ 394399 h 2752725"/>
                  <a:gd name="connsiteX2" fmla="*/ 2015 w 3184638"/>
                  <a:gd name="connsiteY2" fmla="*/ 875820 h 2752725"/>
                  <a:gd name="connsiteX3" fmla="*/ 487703 w 3184638"/>
                  <a:gd name="connsiteY3" fmla="*/ 1004128 h 2752725"/>
                  <a:gd name="connsiteX4" fmla="*/ 851013 w 3184638"/>
                  <a:gd name="connsiteY4" fmla="*/ 1266825 h 2752725"/>
                  <a:gd name="connsiteX5" fmla="*/ 1555863 w 3184638"/>
                  <a:gd name="connsiteY5" fmla="*/ 1638300 h 2752725"/>
                  <a:gd name="connsiteX6" fmla="*/ 2327388 w 3184638"/>
                  <a:gd name="connsiteY6" fmla="*/ 1933575 h 2752725"/>
                  <a:gd name="connsiteX7" fmla="*/ 3184638 w 3184638"/>
                  <a:gd name="connsiteY7" fmla="*/ 2752725 h 2752725"/>
                  <a:gd name="connsiteX0" fmla="*/ 252451 w 3186151"/>
                  <a:gd name="connsiteY0" fmla="*/ 0 h 2752725"/>
                  <a:gd name="connsiteX1" fmla="*/ 190555 w 3186151"/>
                  <a:gd name="connsiteY1" fmla="*/ 394399 h 2752725"/>
                  <a:gd name="connsiteX2" fmla="*/ 3528 w 3186151"/>
                  <a:gd name="connsiteY2" fmla="*/ 875820 h 2752725"/>
                  <a:gd name="connsiteX3" fmla="*/ 373556 w 3186151"/>
                  <a:gd name="connsiteY3" fmla="*/ 957625 h 2752725"/>
                  <a:gd name="connsiteX4" fmla="*/ 852526 w 3186151"/>
                  <a:gd name="connsiteY4" fmla="*/ 1266825 h 2752725"/>
                  <a:gd name="connsiteX5" fmla="*/ 1557376 w 3186151"/>
                  <a:gd name="connsiteY5" fmla="*/ 1638300 h 2752725"/>
                  <a:gd name="connsiteX6" fmla="*/ 2328901 w 3186151"/>
                  <a:gd name="connsiteY6" fmla="*/ 1933575 h 2752725"/>
                  <a:gd name="connsiteX7" fmla="*/ 3186151 w 3186151"/>
                  <a:gd name="connsiteY7" fmla="*/ 2752725 h 2752725"/>
                  <a:gd name="connsiteX0" fmla="*/ 252453 w 3186153"/>
                  <a:gd name="connsiteY0" fmla="*/ 0 h 2752725"/>
                  <a:gd name="connsiteX1" fmla="*/ 190557 w 3186153"/>
                  <a:gd name="connsiteY1" fmla="*/ 394399 h 2752725"/>
                  <a:gd name="connsiteX2" fmla="*/ 3530 w 3186153"/>
                  <a:gd name="connsiteY2" fmla="*/ 875820 h 2752725"/>
                  <a:gd name="connsiteX3" fmla="*/ 373558 w 3186153"/>
                  <a:gd name="connsiteY3" fmla="*/ 957625 h 2752725"/>
                  <a:gd name="connsiteX4" fmla="*/ 852528 w 3186153"/>
                  <a:gd name="connsiteY4" fmla="*/ 1266825 h 2752725"/>
                  <a:gd name="connsiteX5" fmla="*/ 1557378 w 3186153"/>
                  <a:gd name="connsiteY5" fmla="*/ 1638300 h 2752725"/>
                  <a:gd name="connsiteX6" fmla="*/ 2328903 w 3186153"/>
                  <a:gd name="connsiteY6" fmla="*/ 1933575 h 2752725"/>
                  <a:gd name="connsiteX7" fmla="*/ 3186153 w 3186153"/>
                  <a:gd name="connsiteY7" fmla="*/ 2752725 h 2752725"/>
                  <a:gd name="connsiteX0" fmla="*/ 251922 w 3185622"/>
                  <a:gd name="connsiteY0" fmla="*/ 0 h 2752725"/>
                  <a:gd name="connsiteX1" fmla="*/ 201043 w 3185622"/>
                  <a:gd name="connsiteY1" fmla="*/ 394399 h 2752725"/>
                  <a:gd name="connsiteX2" fmla="*/ 2999 w 3185622"/>
                  <a:gd name="connsiteY2" fmla="*/ 875820 h 2752725"/>
                  <a:gd name="connsiteX3" fmla="*/ 373027 w 3185622"/>
                  <a:gd name="connsiteY3" fmla="*/ 957625 h 2752725"/>
                  <a:gd name="connsiteX4" fmla="*/ 851997 w 3185622"/>
                  <a:gd name="connsiteY4" fmla="*/ 1266825 h 2752725"/>
                  <a:gd name="connsiteX5" fmla="*/ 1556847 w 3185622"/>
                  <a:gd name="connsiteY5" fmla="*/ 1638300 h 2752725"/>
                  <a:gd name="connsiteX6" fmla="*/ 2328372 w 3185622"/>
                  <a:gd name="connsiteY6" fmla="*/ 1933575 h 2752725"/>
                  <a:gd name="connsiteX7" fmla="*/ 3185622 w 3185622"/>
                  <a:gd name="connsiteY7" fmla="*/ 2752725 h 2752725"/>
                  <a:gd name="connsiteX0" fmla="*/ 251576 w 3185276"/>
                  <a:gd name="connsiteY0" fmla="*/ 0 h 2752725"/>
                  <a:gd name="connsiteX1" fmla="*/ 200697 w 3185276"/>
                  <a:gd name="connsiteY1" fmla="*/ 394399 h 2752725"/>
                  <a:gd name="connsiteX2" fmla="*/ 2653 w 3185276"/>
                  <a:gd name="connsiteY2" fmla="*/ 875820 h 2752725"/>
                  <a:gd name="connsiteX3" fmla="*/ 372681 w 3185276"/>
                  <a:gd name="connsiteY3" fmla="*/ 957625 h 2752725"/>
                  <a:gd name="connsiteX4" fmla="*/ 851651 w 3185276"/>
                  <a:gd name="connsiteY4" fmla="*/ 1266825 h 2752725"/>
                  <a:gd name="connsiteX5" fmla="*/ 1556501 w 3185276"/>
                  <a:gd name="connsiteY5" fmla="*/ 1638300 h 2752725"/>
                  <a:gd name="connsiteX6" fmla="*/ 2328026 w 3185276"/>
                  <a:gd name="connsiteY6" fmla="*/ 1933575 h 2752725"/>
                  <a:gd name="connsiteX7" fmla="*/ 3185276 w 3185276"/>
                  <a:gd name="connsiteY7" fmla="*/ 2752725 h 2752725"/>
                  <a:gd name="connsiteX0" fmla="*/ 251845 w 3185545"/>
                  <a:gd name="connsiteY0" fmla="*/ 0 h 2752725"/>
                  <a:gd name="connsiteX1" fmla="*/ 200966 w 3185545"/>
                  <a:gd name="connsiteY1" fmla="*/ 394399 h 2752725"/>
                  <a:gd name="connsiteX2" fmla="*/ 2922 w 3185545"/>
                  <a:gd name="connsiteY2" fmla="*/ 875820 h 2752725"/>
                  <a:gd name="connsiteX3" fmla="*/ 372950 w 3185545"/>
                  <a:gd name="connsiteY3" fmla="*/ 957625 h 2752725"/>
                  <a:gd name="connsiteX4" fmla="*/ 851920 w 3185545"/>
                  <a:gd name="connsiteY4" fmla="*/ 1266825 h 2752725"/>
                  <a:gd name="connsiteX5" fmla="*/ 1556770 w 3185545"/>
                  <a:gd name="connsiteY5" fmla="*/ 1638300 h 2752725"/>
                  <a:gd name="connsiteX6" fmla="*/ 2328295 w 3185545"/>
                  <a:gd name="connsiteY6" fmla="*/ 1933575 h 2752725"/>
                  <a:gd name="connsiteX7" fmla="*/ 3185545 w 3185545"/>
                  <a:gd name="connsiteY7" fmla="*/ 2752725 h 2752725"/>
                  <a:gd name="connsiteX0" fmla="*/ 251576 w 3185276"/>
                  <a:gd name="connsiteY0" fmla="*/ 0 h 2752725"/>
                  <a:gd name="connsiteX1" fmla="*/ 200697 w 3185276"/>
                  <a:gd name="connsiteY1" fmla="*/ 394399 h 2752725"/>
                  <a:gd name="connsiteX2" fmla="*/ 2653 w 3185276"/>
                  <a:gd name="connsiteY2" fmla="*/ 875820 h 2752725"/>
                  <a:gd name="connsiteX3" fmla="*/ 372681 w 3185276"/>
                  <a:gd name="connsiteY3" fmla="*/ 957625 h 2752725"/>
                  <a:gd name="connsiteX4" fmla="*/ 851651 w 3185276"/>
                  <a:gd name="connsiteY4" fmla="*/ 1266825 h 2752725"/>
                  <a:gd name="connsiteX5" fmla="*/ 1556501 w 3185276"/>
                  <a:gd name="connsiteY5" fmla="*/ 1638300 h 2752725"/>
                  <a:gd name="connsiteX6" fmla="*/ 2328026 w 3185276"/>
                  <a:gd name="connsiteY6" fmla="*/ 1933575 h 2752725"/>
                  <a:gd name="connsiteX7" fmla="*/ 3185276 w 3185276"/>
                  <a:gd name="connsiteY7" fmla="*/ 2752725 h 2752725"/>
                  <a:gd name="connsiteX0" fmla="*/ 251638 w 3185338"/>
                  <a:gd name="connsiteY0" fmla="*/ 0 h 2752725"/>
                  <a:gd name="connsiteX1" fmla="*/ 200759 w 3185338"/>
                  <a:gd name="connsiteY1" fmla="*/ 394399 h 2752725"/>
                  <a:gd name="connsiteX2" fmla="*/ 2715 w 3185338"/>
                  <a:gd name="connsiteY2" fmla="*/ 875820 h 2752725"/>
                  <a:gd name="connsiteX3" fmla="*/ 372743 w 3185338"/>
                  <a:gd name="connsiteY3" fmla="*/ 957625 h 2752725"/>
                  <a:gd name="connsiteX4" fmla="*/ 851713 w 3185338"/>
                  <a:gd name="connsiteY4" fmla="*/ 1266825 h 2752725"/>
                  <a:gd name="connsiteX5" fmla="*/ 1556563 w 3185338"/>
                  <a:gd name="connsiteY5" fmla="*/ 1638300 h 2752725"/>
                  <a:gd name="connsiteX6" fmla="*/ 2328088 w 3185338"/>
                  <a:gd name="connsiteY6" fmla="*/ 1933575 h 2752725"/>
                  <a:gd name="connsiteX7" fmla="*/ 3185338 w 3185338"/>
                  <a:gd name="connsiteY7" fmla="*/ 2752725 h 2752725"/>
                  <a:gd name="connsiteX0" fmla="*/ 197705 w 3131405"/>
                  <a:gd name="connsiteY0" fmla="*/ 0 h 2752725"/>
                  <a:gd name="connsiteX1" fmla="*/ 146826 w 3131405"/>
                  <a:gd name="connsiteY1" fmla="*/ 394399 h 2752725"/>
                  <a:gd name="connsiteX2" fmla="*/ 3860 w 3131405"/>
                  <a:gd name="connsiteY2" fmla="*/ 875820 h 2752725"/>
                  <a:gd name="connsiteX3" fmla="*/ 318810 w 3131405"/>
                  <a:gd name="connsiteY3" fmla="*/ 957625 h 2752725"/>
                  <a:gd name="connsiteX4" fmla="*/ 797780 w 3131405"/>
                  <a:gd name="connsiteY4" fmla="*/ 1266825 h 2752725"/>
                  <a:gd name="connsiteX5" fmla="*/ 1502630 w 3131405"/>
                  <a:gd name="connsiteY5" fmla="*/ 1638300 h 2752725"/>
                  <a:gd name="connsiteX6" fmla="*/ 2274155 w 3131405"/>
                  <a:gd name="connsiteY6" fmla="*/ 1933575 h 2752725"/>
                  <a:gd name="connsiteX7" fmla="*/ 3131405 w 3131405"/>
                  <a:gd name="connsiteY7" fmla="*/ 2752725 h 2752725"/>
                  <a:gd name="connsiteX0" fmla="*/ 196901 w 3130601"/>
                  <a:gd name="connsiteY0" fmla="*/ 0 h 2752725"/>
                  <a:gd name="connsiteX1" fmla="*/ 146022 w 3130601"/>
                  <a:gd name="connsiteY1" fmla="*/ 394399 h 2752725"/>
                  <a:gd name="connsiteX2" fmla="*/ 3056 w 3130601"/>
                  <a:gd name="connsiteY2" fmla="*/ 875820 h 2752725"/>
                  <a:gd name="connsiteX3" fmla="*/ 295975 w 3130601"/>
                  <a:gd name="connsiteY3" fmla="*/ 990841 h 2752725"/>
                  <a:gd name="connsiteX4" fmla="*/ 796976 w 3130601"/>
                  <a:gd name="connsiteY4" fmla="*/ 1266825 h 2752725"/>
                  <a:gd name="connsiteX5" fmla="*/ 1501826 w 3130601"/>
                  <a:gd name="connsiteY5" fmla="*/ 1638300 h 2752725"/>
                  <a:gd name="connsiteX6" fmla="*/ 2273351 w 3130601"/>
                  <a:gd name="connsiteY6" fmla="*/ 1933575 h 2752725"/>
                  <a:gd name="connsiteX7" fmla="*/ 3130601 w 3130601"/>
                  <a:gd name="connsiteY7" fmla="*/ 2752725 h 2752725"/>
                  <a:gd name="connsiteX0" fmla="*/ 196899 w 3130599"/>
                  <a:gd name="connsiteY0" fmla="*/ 0 h 2752725"/>
                  <a:gd name="connsiteX1" fmla="*/ 146020 w 3130599"/>
                  <a:gd name="connsiteY1" fmla="*/ 394399 h 2752725"/>
                  <a:gd name="connsiteX2" fmla="*/ 3054 w 3130599"/>
                  <a:gd name="connsiteY2" fmla="*/ 875820 h 2752725"/>
                  <a:gd name="connsiteX3" fmla="*/ 295973 w 3130599"/>
                  <a:gd name="connsiteY3" fmla="*/ 990841 h 2752725"/>
                  <a:gd name="connsiteX4" fmla="*/ 796974 w 3130599"/>
                  <a:gd name="connsiteY4" fmla="*/ 1266825 h 2752725"/>
                  <a:gd name="connsiteX5" fmla="*/ 1501824 w 3130599"/>
                  <a:gd name="connsiteY5" fmla="*/ 1638300 h 2752725"/>
                  <a:gd name="connsiteX6" fmla="*/ 2273349 w 3130599"/>
                  <a:gd name="connsiteY6" fmla="*/ 1933575 h 2752725"/>
                  <a:gd name="connsiteX7" fmla="*/ 3130599 w 3130599"/>
                  <a:gd name="connsiteY7" fmla="*/ 2752725 h 2752725"/>
                  <a:gd name="connsiteX0" fmla="*/ 196899 w 3130599"/>
                  <a:gd name="connsiteY0" fmla="*/ 0 h 2752725"/>
                  <a:gd name="connsiteX1" fmla="*/ 146020 w 3130599"/>
                  <a:gd name="connsiteY1" fmla="*/ 394399 h 2752725"/>
                  <a:gd name="connsiteX2" fmla="*/ 3054 w 3130599"/>
                  <a:gd name="connsiteY2" fmla="*/ 875820 h 2752725"/>
                  <a:gd name="connsiteX3" fmla="*/ 295973 w 3130599"/>
                  <a:gd name="connsiteY3" fmla="*/ 990841 h 2752725"/>
                  <a:gd name="connsiteX4" fmla="*/ 796974 w 3130599"/>
                  <a:gd name="connsiteY4" fmla="*/ 1266825 h 2752725"/>
                  <a:gd name="connsiteX5" fmla="*/ 1501824 w 3130599"/>
                  <a:gd name="connsiteY5" fmla="*/ 1638300 h 2752725"/>
                  <a:gd name="connsiteX6" fmla="*/ 2273349 w 3130599"/>
                  <a:gd name="connsiteY6" fmla="*/ 1933575 h 2752725"/>
                  <a:gd name="connsiteX7" fmla="*/ 3130599 w 3130599"/>
                  <a:gd name="connsiteY7" fmla="*/ 2752725 h 2752725"/>
                  <a:gd name="connsiteX0" fmla="*/ 196899 w 3130599"/>
                  <a:gd name="connsiteY0" fmla="*/ 0 h 2752725"/>
                  <a:gd name="connsiteX1" fmla="*/ 146020 w 3130599"/>
                  <a:gd name="connsiteY1" fmla="*/ 394399 h 2752725"/>
                  <a:gd name="connsiteX2" fmla="*/ 3054 w 3130599"/>
                  <a:gd name="connsiteY2" fmla="*/ 875820 h 2752725"/>
                  <a:gd name="connsiteX3" fmla="*/ 295973 w 3130599"/>
                  <a:gd name="connsiteY3" fmla="*/ 990841 h 2752725"/>
                  <a:gd name="connsiteX4" fmla="*/ 796974 w 3130599"/>
                  <a:gd name="connsiteY4" fmla="*/ 1266825 h 2752725"/>
                  <a:gd name="connsiteX5" fmla="*/ 1501824 w 3130599"/>
                  <a:gd name="connsiteY5" fmla="*/ 1638300 h 2752725"/>
                  <a:gd name="connsiteX6" fmla="*/ 2273349 w 3130599"/>
                  <a:gd name="connsiteY6" fmla="*/ 1933575 h 2752725"/>
                  <a:gd name="connsiteX7" fmla="*/ 3130599 w 3130599"/>
                  <a:gd name="connsiteY7" fmla="*/ 2752725 h 2752725"/>
                  <a:gd name="connsiteX0" fmla="*/ 234923 w 3168623"/>
                  <a:gd name="connsiteY0" fmla="*/ 0 h 2752725"/>
                  <a:gd name="connsiteX1" fmla="*/ 184044 w 3168623"/>
                  <a:gd name="connsiteY1" fmla="*/ 394399 h 2752725"/>
                  <a:gd name="connsiteX2" fmla="*/ 2525 w 3168623"/>
                  <a:gd name="connsiteY2" fmla="*/ 869177 h 2752725"/>
                  <a:gd name="connsiteX3" fmla="*/ 333997 w 3168623"/>
                  <a:gd name="connsiteY3" fmla="*/ 990841 h 2752725"/>
                  <a:gd name="connsiteX4" fmla="*/ 834998 w 3168623"/>
                  <a:gd name="connsiteY4" fmla="*/ 1266825 h 2752725"/>
                  <a:gd name="connsiteX5" fmla="*/ 1539848 w 3168623"/>
                  <a:gd name="connsiteY5" fmla="*/ 1638300 h 2752725"/>
                  <a:gd name="connsiteX6" fmla="*/ 2311373 w 3168623"/>
                  <a:gd name="connsiteY6" fmla="*/ 1933575 h 2752725"/>
                  <a:gd name="connsiteX7" fmla="*/ 3168623 w 3168623"/>
                  <a:gd name="connsiteY7" fmla="*/ 2752725 h 2752725"/>
                  <a:gd name="connsiteX0" fmla="*/ 234923 w 3168623"/>
                  <a:gd name="connsiteY0" fmla="*/ 0 h 2752725"/>
                  <a:gd name="connsiteX1" fmla="*/ 184044 w 3168623"/>
                  <a:gd name="connsiteY1" fmla="*/ 394399 h 2752725"/>
                  <a:gd name="connsiteX2" fmla="*/ 2525 w 3168623"/>
                  <a:gd name="connsiteY2" fmla="*/ 869177 h 2752725"/>
                  <a:gd name="connsiteX3" fmla="*/ 333997 w 3168623"/>
                  <a:gd name="connsiteY3" fmla="*/ 990841 h 2752725"/>
                  <a:gd name="connsiteX4" fmla="*/ 741367 w 3168623"/>
                  <a:gd name="connsiteY4" fmla="*/ 1180459 h 2752725"/>
                  <a:gd name="connsiteX5" fmla="*/ 1539848 w 3168623"/>
                  <a:gd name="connsiteY5" fmla="*/ 1638300 h 2752725"/>
                  <a:gd name="connsiteX6" fmla="*/ 2311373 w 3168623"/>
                  <a:gd name="connsiteY6" fmla="*/ 1933575 h 2752725"/>
                  <a:gd name="connsiteX7" fmla="*/ 3168623 w 3168623"/>
                  <a:gd name="connsiteY7" fmla="*/ 2752725 h 2752725"/>
                  <a:gd name="connsiteX0" fmla="*/ 234923 w 3168623"/>
                  <a:gd name="connsiteY0" fmla="*/ 0 h 2752725"/>
                  <a:gd name="connsiteX1" fmla="*/ 184044 w 3168623"/>
                  <a:gd name="connsiteY1" fmla="*/ 394399 h 2752725"/>
                  <a:gd name="connsiteX2" fmla="*/ 2525 w 3168623"/>
                  <a:gd name="connsiteY2" fmla="*/ 869177 h 2752725"/>
                  <a:gd name="connsiteX3" fmla="*/ 333997 w 3168623"/>
                  <a:gd name="connsiteY3" fmla="*/ 990841 h 2752725"/>
                  <a:gd name="connsiteX4" fmla="*/ 741367 w 3168623"/>
                  <a:gd name="connsiteY4" fmla="*/ 1180459 h 2752725"/>
                  <a:gd name="connsiteX5" fmla="*/ 1539848 w 3168623"/>
                  <a:gd name="connsiteY5" fmla="*/ 1638300 h 2752725"/>
                  <a:gd name="connsiteX6" fmla="*/ 2311373 w 3168623"/>
                  <a:gd name="connsiteY6" fmla="*/ 1933575 h 2752725"/>
                  <a:gd name="connsiteX7" fmla="*/ 3168623 w 3168623"/>
                  <a:gd name="connsiteY7" fmla="*/ 2752725 h 2752725"/>
                  <a:gd name="connsiteX0" fmla="*/ 234923 w 3168623"/>
                  <a:gd name="connsiteY0" fmla="*/ 0 h 2752725"/>
                  <a:gd name="connsiteX1" fmla="*/ 184044 w 3168623"/>
                  <a:gd name="connsiteY1" fmla="*/ 394399 h 2752725"/>
                  <a:gd name="connsiteX2" fmla="*/ 2525 w 3168623"/>
                  <a:gd name="connsiteY2" fmla="*/ 869177 h 2752725"/>
                  <a:gd name="connsiteX3" fmla="*/ 333997 w 3168623"/>
                  <a:gd name="connsiteY3" fmla="*/ 990841 h 2752725"/>
                  <a:gd name="connsiteX4" fmla="*/ 741367 w 3168623"/>
                  <a:gd name="connsiteY4" fmla="*/ 1180459 h 2752725"/>
                  <a:gd name="connsiteX5" fmla="*/ 1539848 w 3168623"/>
                  <a:gd name="connsiteY5" fmla="*/ 1638300 h 2752725"/>
                  <a:gd name="connsiteX6" fmla="*/ 2311373 w 3168623"/>
                  <a:gd name="connsiteY6" fmla="*/ 1933575 h 2752725"/>
                  <a:gd name="connsiteX7" fmla="*/ 3168623 w 3168623"/>
                  <a:gd name="connsiteY7" fmla="*/ 2752725 h 2752725"/>
                  <a:gd name="connsiteX0" fmla="*/ 234450 w 3168150"/>
                  <a:gd name="connsiteY0" fmla="*/ 0 h 2752725"/>
                  <a:gd name="connsiteX1" fmla="*/ 183571 w 3168150"/>
                  <a:gd name="connsiteY1" fmla="*/ 394399 h 2752725"/>
                  <a:gd name="connsiteX2" fmla="*/ 2052 w 3168150"/>
                  <a:gd name="connsiteY2" fmla="*/ 869177 h 2752725"/>
                  <a:gd name="connsiteX3" fmla="*/ 317002 w 3168150"/>
                  <a:gd name="connsiteY3" fmla="*/ 977555 h 2752725"/>
                  <a:gd name="connsiteX4" fmla="*/ 740894 w 3168150"/>
                  <a:gd name="connsiteY4" fmla="*/ 1180459 h 2752725"/>
                  <a:gd name="connsiteX5" fmla="*/ 1539375 w 3168150"/>
                  <a:gd name="connsiteY5" fmla="*/ 1638300 h 2752725"/>
                  <a:gd name="connsiteX6" fmla="*/ 2310900 w 3168150"/>
                  <a:gd name="connsiteY6" fmla="*/ 1933575 h 2752725"/>
                  <a:gd name="connsiteX7" fmla="*/ 3168150 w 3168150"/>
                  <a:gd name="connsiteY7" fmla="*/ 2752725 h 2752725"/>
                  <a:gd name="connsiteX0" fmla="*/ 234450 w 3168150"/>
                  <a:gd name="connsiteY0" fmla="*/ 0 h 2752725"/>
                  <a:gd name="connsiteX1" fmla="*/ 183571 w 3168150"/>
                  <a:gd name="connsiteY1" fmla="*/ 394399 h 2752725"/>
                  <a:gd name="connsiteX2" fmla="*/ 2052 w 3168150"/>
                  <a:gd name="connsiteY2" fmla="*/ 869177 h 2752725"/>
                  <a:gd name="connsiteX3" fmla="*/ 317002 w 3168150"/>
                  <a:gd name="connsiteY3" fmla="*/ 977555 h 2752725"/>
                  <a:gd name="connsiteX4" fmla="*/ 740894 w 3168150"/>
                  <a:gd name="connsiteY4" fmla="*/ 1180459 h 2752725"/>
                  <a:gd name="connsiteX5" fmla="*/ 1539375 w 3168150"/>
                  <a:gd name="connsiteY5" fmla="*/ 1638300 h 2752725"/>
                  <a:gd name="connsiteX6" fmla="*/ 2310900 w 3168150"/>
                  <a:gd name="connsiteY6" fmla="*/ 1933575 h 2752725"/>
                  <a:gd name="connsiteX7" fmla="*/ 3168150 w 3168150"/>
                  <a:gd name="connsiteY7" fmla="*/ 2752725 h 2752725"/>
                  <a:gd name="connsiteX0" fmla="*/ 234450 w 3168150"/>
                  <a:gd name="connsiteY0" fmla="*/ 0 h 2752725"/>
                  <a:gd name="connsiteX1" fmla="*/ 183571 w 3168150"/>
                  <a:gd name="connsiteY1" fmla="*/ 394399 h 2752725"/>
                  <a:gd name="connsiteX2" fmla="*/ 2052 w 3168150"/>
                  <a:gd name="connsiteY2" fmla="*/ 869177 h 2752725"/>
                  <a:gd name="connsiteX3" fmla="*/ 317002 w 3168150"/>
                  <a:gd name="connsiteY3" fmla="*/ 977555 h 2752725"/>
                  <a:gd name="connsiteX4" fmla="*/ 740894 w 3168150"/>
                  <a:gd name="connsiteY4" fmla="*/ 1180459 h 2752725"/>
                  <a:gd name="connsiteX5" fmla="*/ 1539375 w 3168150"/>
                  <a:gd name="connsiteY5" fmla="*/ 1638300 h 2752725"/>
                  <a:gd name="connsiteX6" fmla="*/ 2310900 w 3168150"/>
                  <a:gd name="connsiteY6" fmla="*/ 1933575 h 2752725"/>
                  <a:gd name="connsiteX7" fmla="*/ 3168150 w 3168150"/>
                  <a:gd name="connsiteY7" fmla="*/ 2752725 h 2752725"/>
                  <a:gd name="connsiteX0" fmla="*/ 234450 w 3168150"/>
                  <a:gd name="connsiteY0" fmla="*/ 0 h 2752725"/>
                  <a:gd name="connsiteX1" fmla="*/ 183571 w 3168150"/>
                  <a:gd name="connsiteY1" fmla="*/ 394399 h 2752725"/>
                  <a:gd name="connsiteX2" fmla="*/ 2052 w 3168150"/>
                  <a:gd name="connsiteY2" fmla="*/ 869177 h 2752725"/>
                  <a:gd name="connsiteX3" fmla="*/ 317002 w 3168150"/>
                  <a:gd name="connsiteY3" fmla="*/ 977555 h 2752725"/>
                  <a:gd name="connsiteX4" fmla="*/ 740894 w 3168150"/>
                  <a:gd name="connsiteY4" fmla="*/ 1180459 h 2752725"/>
                  <a:gd name="connsiteX5" fmla="*/ 1539375 w 3168150"/>
                  <a:gd name="connsiteY5" fmla="*/ 1638300 h 2752725"/>
                  <a:gd name="connsiteX6" fmla="*/ 2310900 w 3168150"/>
                  <a:gd name="connsiteY6" fmla="*/ 1933575 h 2752725"/>
                  <a:gd name="connsiteX7" fmla="*/ 3168150 w 3168150"/>
                  <a:gd name="connsiteY7" fmla="*/ 2752725 h 2752725"/>
                  <a:gd name="connsiteX0" fmla="*/ 234450 w 3168150"/>
                  <a:gd name="connsiteY0" fmla="*/ 0 h 2752725"/>
                  <a:gd name="connsiteX1" fmla="*/ 183571 w 3168150"/>
                  <a:gd name="connsiteY1" fmla="*/ 394399 h 2752725"/>
                  <a:gd name="connsiteX2" fmla="*/ 2052 w 3168150"/>
                  <a:gd name="connsiteY2" fmla="*/ 869177 h 2752725"/>
                  <a:gd name="connsiteX3" fmla="*/ 317002 w 3168150"/>
                  <a:gd name="connsiteY3" fmla="*/ 977555 h 2752725"/>
                  <a:gd name="connsiteX4" fmla="*/ 740894 w 3168150"/>
                  <a:gd name="connsiteY4" fmla="*/ 1180459 h 2752725"/>
                  <a:gd name="connsiteX5" fmla="*/ 1539375 w 3168150"/>
                  <a:gd name="connsiteY5" fmla="*/ 1638300 h 2752725"/>
                  <a:gd name="connsiteX6" fmla="*/ 2310900 w 3168150"/>
                  <a:gd name="connsiteY6" fmla="*/ 1933575 h 2752725"/>
                  <a:gd name="connsiteX7" fmla="*/ 3168150 w 3168150"/>
                  <a:gd name="connsiteY7" fmla="*/ 2752725 h 2752725"/>
                  <a:gd name="connsiteX0" fmla="*/ 234450 w 3168150"/>
                  <a:gd name="connsiteY0" fmla="*/ 0 h 2752725"/>
                  <a:gd name="connsiteX1" fmla="*/ 183571 w 3168150"/>
                  <a:gd name="connsiteY1" fmla="*/ 394399 h 2752725"/>
                  <a:gd name="connsiteX2" fmla="*/ 2052 w 3168150"/>
                  <a:gd name="connsiteY2" fmla="*/ 869177 h 2752725"/>
                  <a:gd name="connsiteX3" fmla="*/ 317002 w 3168150"/>
                  <a:gd name="connsiteY3" fmla="*/ 977555 h 2752725"/>
                  <a:gd name="connsiteX4" fmla="*/ 740894 w 3168150"/>
                  <a:gd name="connsiteY4" fmla="*/ 1180459 h 2752725"/>
                  <a:gd name="connsiteX5" fmla="*/ 1539375 w 3168150"/>
                  <a:gd name="connsiteY5" fmla="*/ 1638300 h 2752725"/>
                  <a:gd name="connsiteX6" fmla="*/ 2310900 w 3168150"/>
                  <a:gd name="connsiteY6" fmla="*/ 1933575 h 2752725"/>
                  <a:gd name="connsiteX7" fmla="*/ 3168150 w 3168150"/>
                  <a:gd name="connsiteY7" fmla="*/ 2752725 h 2752725"/>
                  <a:gd name="connsiteX0" fmla="*/ 245365 w 3179065"/>
                  <a:gd name="connsiteY0" fmla="*/ 0 h 2752725"/>
                  <a:gd name="connsiteX1" fmla="*/ 194486 w 3179065"/>
                  <a:gd name="connsiteY1" fmla="*/ 394399 h 2752725"/>
                  <a:gd name="connsiteX2" fmla="*/ 1951 w 3179065"/>
                  <a:gd name="connsiteY2" fmla="*/ 875820 h 2752725"/>
                  <a:gd name="connsiteX3" fmla="*/ 327917 w 3179065"/>
                  <a:gd name="connsiteY3" fmla="*/ 977555 h 2752725"/>
                  <a:gd name="connsiteX4" fmla="*/ 751809 w 3179065"/>
                  <a:gd name="connsiteY4" fmla="*/ 1180459 h 2752725"/>
                  <a:gd name="connsiteX5" fmla="*/ 1550290 w 3179065"/>
                  <a:gd name="connsiteY5" fmla="*/ 1638300 h 2752725"/>
                  <a:gd name="connsiteX6" fmla="*/ 2321815 w 3179065"/>
                  <a:gd name="connsiteY6" fmla="*/ 1933575 h 2752725"/>
                  <a:gd name="connsiteX7" fmla="*/ 3179065 w 3179065"/>
                  <a:gd name="connsiteY7" fmla="*/ 2752725 h 2752725"/>
                  <a:gd name="connsiteX0" fmla="*/ 245663 w 3179363"/>
                  <a:gd name="connsiteY0" fmla="*/ 0 h 2752725"/>
                  <a:gd name="connsiteX1" fmla="*/ 194784 w 3179363"/>
                  <a:gd name="connsiteY1" fmla="*/ 394399 h 2752725"/>
                  <a:gd name="connsiteX2" fmla="*/ 2249 w 3179363"/>
                  <a:gd name="connsiteY2" fmla="*/ 875820 h 2752725"/>
                  <a:gd name="connsiteX3" fmla="*/ 328215 w 3179363"/>
                  <a:gd name="connsiteY3" fmla="*/ 977555 h 2752725"/>
                  <a:gd name="connsiteX4" fmla="*/ 752107 w 3179363"/>
                  <a:gd name="connsiteY4" fmla="*/ 1180459 h 2752725"/>
                  <a:gd name="connsiteX5" fmla="*/ 1550588 w 3179363"/>
                  <a:gd name="connsiteY5" fmla="*/ 1638300 h 2752725"/>
                  <a:gd name="connsiteX6" fmla="*/ 2322113 w 3179363"/>
                  <a:gd name="connsiteY6" fmla="*/ 1933575 h 2752725"/>
                  <a:gd name="connsiteX7" fmla="*/ 3179363 w 3179363"/>
                  <a:gd name="connsiteY7" fmla="*/ 2752725 h 2752725"/>
                  <a:gd name="connsiteX0" fmla="*/ 244907 w 3178607"/>
                  <a:gd name="connsiteY0" fmla="*/ 0 h 2752725"/>
                  <a:gd name="connsiteX1" fmla="*/ 194028 w 3178607"/>
                  <a:gd name="connsiteY1" fmla="*/ 394399 h 2752725"/>
                  <a:gd name="connsiteX2" fmla="*/ 1493 w 3178607"/>
                  <a:gd name="connsiteY2" fmla="*/ 875820 h 2752725"/>
                  <a:gd name="connsiteX3" fmla="*/ 327459 w 3178607"/>
                  <a:gd name="connsiteY3" fmla="*/ 977555 h 2752725"/>
                  <a:gd name="connsiteX4" fmla="*/ 751351 w 3178607"/>
                  <a:gd name="connsiteY4" fmla="*/ 1180459 h 2752725"/>
                  <a:gd name="connsiteX5" fmla="*/ 1549832 w 3178607"/>
                  <a:gd name="connsiteY5" fmla="*/ 1638300 h 2752725"/>
                  <a:gd name="connsiteX6" fmla="*/ 2321357 w 3178607"/>
                  <a:gd name="connsiteY6" fmla="*/ 1933575 h 2752725"/>
                  <a:gd name="connsiteX7" fmla="*/ 3178607 w 3178607"/>
                  <a:gd name="connsiteY7" fmla="*/ 2752725 h 2752725"/>
                  <a:gd name="connsiteX0" fmla="*/ 245367 w 3179067"/>
                  <a:gd name="connsiteY0" fmla="*/ 0 h 2752725"/>
                  <a:gd name="connsiteX1" fmla="*/ 194488 w 3179067"/>
                  <a:gd name="connsiteY1" fmla="*/ 394399 h 2752725"/>
                  <a:gd name="connsiteX2" fmla="*/ 1953 w 3179067"/>
                  <a:gd name="connsiteY2" fmla="*/ 875820 h 2752725"/>
                  <a:gd name="connsiteX3" fmla="*/ 327919 w 3179067"/>
                  <a:gd name="connsiteY3" fmla="*/ 977555 h 2752725"/>
                  <a:gd name="connsiteX4" fmla="*/ 751811 w 3179067"/>
                  <a:gd name="connsiteY4" fmla="*/ 1180459 h 2752725"/>
                  <a:gd name="connsiteX5" fmla="*/ 1550292 w 3179067"/>
                  <a:gd name="connsiteY5" fmla="*/ 1638300 h 2752725"/>
                  <a:gd name="connsiteX6" fmla="*/ 2321817 w 3179067"/>
                  <a:gd name="connsiteY6" fmla="*/ 1933575 h 2752725"/>
                  <a:gd name="connsiteX7" fmla="*/ 3179067 w 3179067"/>
                  <a:gd name="connsiteY7" fmla="*/ 2752725 h 2752725"/>
                  <a:gd name="connsiteX0" fmla="*/ 245367 w 3179067"/>
                  <a:gd name="connsiteY0" fmla="*/ 0 h 2752725"/>
                  <a:gd name="connsiteX1" fmla="*/ 194488 w 3179067"/>
                  <a:gd name="connsiteY1" fmla="*/ 387756 h 2752725"/>
                  <a:gd name="connsiteX2" fmla="*/ 1953 w 3179067"/>
                  <a:gd name="connsiteY2" fmla="*/ 875820 h 2752725"/>
                  <a:gd name="connsiteX3" fmla="*/ 327919 w 3179067"/>
                  <a:gd name="connsiteY3" fmla="*/ 977555 h 2752725"/>
                  <a:gd name="connsiteX4" fmla="*/ 751811 w 3179067"/>
                  <a:gd name="connsiteY4" fmla="*/ 1180459 h 2752725"/>
                  <a:gd name="connsiteX5" fmla="*/ 1550292 w 3179067"/>
                  <a:gd name="connsiteY5" fmla="*/ 1638300 h 2752725"/>
                  <a:gd name="connsiteX6" fmla="*/ 2321817 w 3179067"/>
                  <a:gd name="connsiteY6" fmla="*/ 1933575 h 2752725"/>
                  <a:gd name="connsiteX7" fmla="*/ 3179067 w 3179067"/>
                  <a:gd name="connsiteY7" fmla="*/ 2752725 h 2752725"/>
                  <a:gd name="connsiteX0" fmla="*/ 250828 w 3184528"/>
                  <a:gd name="connsiteY0" fmla="*/ 0 h 2752725"/>
                  <a:gd name="connsiteX1" fmla="*/ 199949 w 3184528"/>
                  <a:gd name="connsiteY1" fmla="*/ 387756 h 2752725"/>
                  <a:gd name="connsiteX2" fmla="*/ 1907 w 3184528"/>
                  <a:gd name="connsiteY2" fmla="*/ 875820 h 2752725"/>
                  <a:gd name="connsiteX3" fmla="*/ 333380 w 3184528"/>
                  <a:gd name="connsiteY3" fmla="*/ 977555 h 2752725"/>
                  <a:gd name="connsiteX4" fmla="*/ 757272 w 3184528"/>
                  <a:gd name="connsiteY4" fmla="*/ 1180459 h 2752725"/>
                  <a:gd name="connsiteX5" fmla="*/ 1555753 w 3184528"/>
                  <a:gd name="connsiteY5" fmla="*/ 1638300 h 2752725"/>
                  <a:gd name="connsiteX6" fmla="*/ 2327278 w 3184528"/>
                  <a:gd name="connsiteY6" fmla="*/ 1933575 h 2752725"/>
                  <a:gd name="connsiteX7" fmla="*/ 3184528 w 3184528"/>
                  <a:gd name="connsiteY7" fmla="*/ 2752725 h 2752725"/>
                  <a:gd name="connsiteX0" fmla="*/ 252808 w 3186508"/>
                  <a:gd name="connsiteY0" fmla="*/ 0 h 2752725"/>
                  <a:gd name="connsiteX1" fmla="*/ 201929 w 3186508"/>
                  <a:gd name="connsiteY1" fmla="*/ 387756 h 2752725"/>
                  <a:gd name="connsiteX2" fmla="*/ 3887 w 3186508"/>
                  <a:gd name="connsiteY2" fmla="*/ 875820 h 2752725"/>
                  <a:gd name="connsiteX3" fmla="*/ 335360 w 3186508"/>
                  <a:gd name="connsiteY3" fmla="*/ 977555 h 2752725"/>
                  <a:gd name="connsiteX4" fmla="*/ 759252 w 3186508"/>
                  <a:gd name="connsiteY4" fmla="*/ 1180459 h 2752725"/>
                  <a:gd name="connsiteX5" fmla="*/ 1557733 w 3186508"/>
                  <a:gd name="connsiteY5" fmla="*/ 1638300 h 2752725"/>
                  <a:gd name="connsiteX6" fmla="*/ 2329258 w 3186508"/>
                  <a:gd name="connsiteY6" fmla="*/ 1933575 h 2752725"/>
                  <a:gd name="connsiteX7" fmla="*/ 3186508 w 3186508"/>
                  <a:gd name="connsiteY7" fmla="*/ 2752725 h 2752725"/>
                  <a:gd name="connsiteX0" fmla="*/ 253122 w 3186822"/>
                  <a:gd name="connsiteY0" fmla="*/ 0 h 2752725"/>
                  <a:gd name="connsiteX1" fmla="*/ 202243 w 3186822"/>
                  <a:gd name="connsiteY1" fmla="*/ 387756 h 2752725"/>
                  <a:gd name="connsiteX2" fmla="*/ 4201 w 3186822"/>
                  <a:gd name="connsiteY2" fmla="*/ 875820 h 2752725"/>
                  <a:gd name="connsiteX3" fmla="*/ 335674 w 3186822"/>
                  <a:gd name="connsiteY3" fmla="*/ 977555 h 2752725"/>
                  <a:gd name="connsiteX4" fmla="*/ 759566 w 3186822"/>
                  <a:gd name="connsiteY4" fmla="*/ 1180459 h 2752725"/>
                  <a:gd name="connsiteX5" fmla="*/ 1558047 w 3186822"/>
                  <a:gd name="connsiteY5" fmla="*/ 1638300 h 2752725"/>
                  <a:gd name="connsiteX6" fmla="*/ 2329572 w 3186822"/>
                  <a:gd name="connsiteY6" fmla="*/ 1933575 h 2752725"/>
                  <a:gd name="connsiteX7" fmla="*/ 3186822 w 3186822"/>
                  <a:gd name="connsiteY7" fmla="*/ 2752725 h 2752725"/>
                  <a:gd name="connsiteX0" fmla="*/ 252538 w 3186238"/>
                  <a:gd name="connsiteY0" fmla="*/ 0 h 2752725"/>
                  <a:gd name="connsiteX1" fmla="*/ 201659 w 3186238"/>
                  <a:gd name="connsiteY1" fmla="*/ 387756 h 2752725"/>
                  <a:gd name="connsiteX2" fmla="*/ 3617 w 3186238"/>
                  <a:gd name="connsiteY2" fmla="*/ 875820 h 2752725"/>
                  <a:gd name="connsiteX3" fmla="*/ 335090 w 3186238"/>
                  <a:gd name="connsiteY3" fmla="*/ 977555 h 2752725"/>
                  <a:gd name="connsiteX4" fmla="*/ 758982 w 3186238"/>
                  <a:gd name="connsiteY4" fmla="*/ 1180459 h 2752725"/>
                  <a:gd name="connsiteX5" fmla="*/ 1557463 w 3186238"/>
                  <a:gd name="connsiteY5" fmla="*/ 1638300 h 2752725"/>
                  <a:gd name="connsiteX6" fmla="*/ 2328988 w 3186238"/>
                  <a:gd name="connsiteY6" fmla="*/ 1933575 h 2752725"/>
                  <a:gd name="connsiteX7" fmla="*/ 3186238 w 3186238"/>
                  <a:gd name="connsiteY7" fmla="*/ 2752725 h 2752725"/>
                  <a:gd name="connsiteX0" fmla="*/ 252713 w 3186413"/>
                  <a:gd name="connsiteY0" fmla="*/ 0 h 2752725"/>
                  <a:gd name="connsiteX1" fmla="*/ 201834 w 3186413"/>
                  <a:gd name="connsiteY1" fmla="*/ 387756 h 2752725"/>
                  <a:gd name="connsiteX2" fmla="*/ 3792 w 3186413"/>
                  <a:gd name="connsiteY2" fmla="*/ 875820 h 2752725"/>
                  <a:gd name="connsiteX3" fmla="*/ 335265 w 3186413"/>
                  <a:gd name="connsiteY3" fmla="*/ 977555 h 2752725"/>
                  <a:gd name="connsiteX4" fmla="*/ 759157 w 3186413"/>
                  <a:gd name="connsiteY4" fmla="*/ 1180459 h 2752725"/>
                  <a:gd name="connsiteX5" fmla="*/ 1557638 w 3186413"/>
                  <a:gd name="connsiteY5" fmla="*/ 1638300 h 2752725"/>
                  <a:gd name="connsiteX6" fmla="*/ 2329163 w 3186413"/>
                  <a:gd name="connsiteY6" fmla="*/ 1933575 h 2752725"/>
                  <a:gd name="connsiteX7" fmla="*/ 3186413 w 3186413"/>
                  <a:gd name="connsiteY7" fmla="*/ 2752725 h 2752725"/>
                  <a:gd name="connsiteX0" fmla="*/ 250974 w 3184674"/>
                  <a:gd name="connsiteY0" fmla="*/ 0 h 2752725"/>
                  <a:gd name="connsiteX1" fmla="*/ 194585 w 3184674"/>
                  <a:gd name="connsiteY1" fmla="*/ 367826 h 2752725"/>
                  <a:gd name="connsiteX2" fmla="*/ 2053 w 3184674"/>
                  <a:gd name="connsiteY2" fmla="*/ 875820 h 2752725"/>
                  <a:gd name="connsiteX3" fmla="*/ 333526 w 3184674"/>
                  <a:gd name="connsiteY3" fmla="*/ 977555 h 2752725"/>
                  <a:gd name="connsiteX4" fmla="*/ 757418 w 3184674"/>
                  <a:gd name="connsiteY4" fmla="*/ 1180459 h 2752725"/>
                  <a:gd name="connsiteX5" fmla="*/ 1555899 w 3184674"/>
                  <a:gd name="connsiteY5" fmla="*/ 1638300 h 2752725"/>
                  <a:gd name="connsiteX6" fmla="*/ 2327424 w 3184674"/>
                  <a:gd name="connsiteY6" fmla="*/ 1933575 h 2752725"/>
                  <a:gd name="connsiteX7" fmla="*/ 3184674 w 3184674"/>
                  <a:gd name="connsiteY7" fmla="*/ 2752725 h 2752725"/>
                  <a:gd name="connsiteX0" fmla="*/ 258211 w 3191911"/>
                  <a:gd name="connsiteY0" fmla="*/ 0 h 2752725"/>
                  <a:gd name="connsiteX1" fmla="*/ 201822 w 3191911"/>
                  <a:gd name="connsiteY1" fmla="*/ 367826 h 2752725"/>
                  <a:gd name="connsiteX2" fmla="*/ 101191 w 3191911"/>
                  <a:gd name="connsiteY2" fmla="*/ 623002 h 2752725"/>
                  <a:gd name="connsiteX3" fmla="*/ 9290 w 3191911"/>
                  <a:gd name="connsiteY3" fmla="*/ 875820 h 2752725"/>
                  <a:gd name="connsiteX4" fmla="*/ 340763 w 3191911"/>
                  <a:gd name="connsiteY4" fmla="*/ 977555 h 2752725"/>
                  <a:gd name="connsiteX5" fmla="*/ 764655 w 3191911"/>
                  <a:gd name="connsiteY5" fmla="*/ 1180459 h 2752725"/>
                  <a:gd name="connsiteX6" fmla="*/ 1563136 w 3191911"/>
                  <a:gd name="connsiteY6" fmla="*/ 1638300 h 2752725"/>
                  <a:gd name="connsiteX7" fmla="*/ 2334661 w 3191911"/>
                  <a:gd name="connsiteY7" fmla="*/ 1933575 h 2752725"/>
                  <a:gd name="connsiteX8" fmla="*/ 3191911 w 3191911"/>
                  <a:gd name="connsiteY8" fmla="*/ 2752725 h 2752725"/>
                  <a:gd name="connsiteX0" fmla="*/ 258211 w 3191911"/>
                  <a:gd name="connsiteY0" fmla="*/ 0 h 2752725"/>
                  <a:gd name="connsiteX1" fmla="*/ 201822 w 3191911"/>
                  <a:gd name="connsiteY1" fmla="*/ 367826 h 2752725"/>
                  <a:gd name="connsiteX2" fmla="*/ 101191 w 3191911"/>
                  <a:gd name="connsiteY2" fmla="*/ 623002 h 2752725"/>
                  <a:gd name="connsiteX3" fmla="*/ 9290 w 3191911"/>
                  <a:gd name="connsiteY3" fmla="*/ 875820 h 2752725"/>
                  <a:gd name="connsiteX4" fmla="*/ 340763 w 3191911"/>
                  <a:gd name="connsiteY4" fmla="*/ 977555 h 2752725"/>
                  <a:gd name="connsiteX5" fmla="*/ 764655 w 3191911"/>
                  <a:gd name="connsiteY5" fmla="*/ 1180459 h 2752725"/>
                  <a:gd name="connsiteX6" fmla="*/ 1563136 w 3191911"/>
                  <a:gd name="connsiteY6" fmla="*/ 1638300 h 2752725"/>
                  <a:gd name="connsiteX7" fmla="*/ 2334661 w 3191911"/>
                  <a:gd name="connsiteY7" fmla="*/ 1933575 h 2752725"/>
                  <a:gd name="connsiteX8" fmla="*/ 3191911 w 3191911"/>
                  <a:gd name="connsiteY8" fmla="*/ 2752725 h 2752725"/>
                  <a:gd name="connsiteX0" fmla="*/ 254775 w 3188475"/>
                  <a:gd name="connsiteY0" fmla="*/ 0 h 2752725"/>
                  <a:gd name="connsiteX1" fmla="*/ 198386 w 3188475"/>
                  <a:gd name="connsiteY1" fmla="*/ 367826 h 2752725"/>
                  <a:gd name="connsiteX2" fmla="*/ 130801 w 3188475"/>
                  <a:gd name="connsiteY2" fmla="*/ 636289 h 2752725"/>
                  <a:gd name="connsiteX3" fmla="*/ 5854 w 3188475"/>
                  <a:gd name="connsiteY3" fmla="*/ 875820 h 2752725"/>
                  <a:gd name="connsiteX4" fmla="*/ 337327 w 3188475"/>
                  <a:gd name="connsiteY4" fmla="*/ 977555 h 2752725"/>
                  <a:gd name="connsiteX5" fmla="*/ 761219 w 3188475"/>
                  <a:gd name="connsiteY5" fmla="*/ 1180459 h 2752725"/>
                  <a:gd name="connsiteX6" fmla="*/ 1559700 w 3188475"/>
                  <a:gd name="connsiteY6" fmla="*/ 1638300 h 2752725"/>
                  <a:gd name="connsiteX7" fmla="*/ 2331225 w 3188475"/>
                  <a:gd name="connsiteY7" fmla="*/ 1933575 h 2752725"/>
                  <a:gd name="connsiteX8" fmla="*/ 3188475 w 3188475"/>
                  <a:gd name="connsiteY8" fmla="*/ 2752725 h 2752725"/>
                  <a:gd name="connsiteX0" fmla="*/ 244210 w 3177910"/>
                  <a:gd name="connsiteY0" fmla="*/ 0 h 2752725"/>
                  <a:gd name="connsiteX1" fmla="*/ 187821 w 3177910"/>
                  <a:gd name="connsiteY1" fmla="*/ 367826 h 2752725"/>
                  <a:gd name="connsiteX2" fmla="*/ 120236 w 3177910"/>
                  <a:gd name="connsiteY2" fmla="*/ 636289 h 2752725"/>
                  <a:gd name="connsiteX3" fmla="*/ 6305 w 3177910"/>
                  <a:gd name="connsiteY3" fmla="*/ 875820 h 2752725"/>
                  <a:gd name="connsiteX4" fmla="*/ 326762 w 3177910"/>
                  <a:gd name="connsiteY4" fmla="*/ 977555 h 2752725"/>
                  <a:gd name="connsiteX5" fmla="*/ 750654 w 3177910"/>
                  <a:gd name="connsiteY5" fmla="*/ 1180459 h 2752725"/>
                  <a:gd name="connsiteX6" fmla="*/ 1549135 w 3177910"/>
                  <a:gd name="connsiteY6" fmla="*/ 1638300 h 2752725"/>
                  <a:gd name="connsiteX7" fmla="*/ 2320660 w 3177910"/>
                  <a:gd name="connsiteY7" fmla="*/ 1933575 h 2752725"/>
                  <a:gd name="connsiteX8" fmla="*/ 3177910 w 3177910"/>
                  <a:gd name="connsiteY8" fmla="*/ 2752725 h 2752725"/>
                  <a:gd name="connsiteX0" fmla="*/ 245856 w 3179556"/>
                  <a:gd name="connsiteY0" fmla="*/ 0 h 2752725"/>
                  <a:gd name="connsiteX1" fmla="*/ 189467 w 3179556"/>
                  <a:gd name="connsiteY1" fmla="*/ 367826 h 2752725"/>
                  <a:gd name="connsiteX2" fmla="*/ 121882 w 3179556"/>
                  <a:gd name="connsiteY2" fmla="*/ 636289 h 2752725"/>
                  <a:gd name="connsiteX3" fmla="*/ 7951 w 3179556"/>
                  <a:gd name="connsiteY3" fmla="*/ 875820 h 2752725"/>
                  <a:gd name="connsiteX4" fmla="*/ 328408 w 3179556"/>
                  <a:gd name="connsiteY4" fmla="*/ 977555 h 2752725"/>
                  <a:gd name="connsiteX5" fmla="*/ 752300 w 3179556"/>
                  <a:gd name="connsiteY5" fmla="*/ 1180459 h 2752725"/>
                  <a:gd name="connsiteX6" fmla="*/ 1550781 w 3179556"/>
                  <a:gd name="connsiteY6" fmla="*/ 1638300 h 2752725"/>
                  <a:gd name="connsiteX7" fmla="*/ 2322306 w 3179556"/>
                  <a:gd name="connsiteY7" fmla="*/ 1933575 h 2752725"/>
                  <a:gd name="connsiteX8" fmla="*/ 3179556 w 3179556"/>
                  <a:gd name="connsiteY8" fmla="*/ 2752725 h 2752725"/>
                  <a:gd name="connsiteX0" fmla="*/ 244210 w 3177910"/>
                  <a:gd name="connsiteY0" fmla="*/ 0 h 2752725"/>
                  <a:gd name="connsiteX1" fmla="*/ 187821 w 3177910"/>
                  <a:gd name="connsiteY1" fmla="*/ 367826 h 2752725"/>
                  <a:gd name="connsiteX2" fmla="*/ 120236 w 3177910"/>
                  <a:gd name="connsiteY2" fmla="*/ 636289 h 2752725"/>
                  <a:gd name="connsiteX3" fmla="*/ 6305 w 3177910"/>
                  <a:gd name="connsiteY3" fmla="*/ 875820 h 2752725"/>
                  <a:gd name="connsiteX4" fmla="*/ 326762 w 3177910"/>
                  <a:gd name="connsiteY4" fmla="*/ 977555 h 2752725"/>
                  <a:gd name="connsiteX5" fmla="*/ 750654 w 3177910"/>
                  <a:gd name="connsiteY5" fmla="*/ 1180459 h 2752725"/>
                  <a:gd name="connsiteX6" fmla="*/ 1549135 w 3177910"/>
                  <a:gd name="connsiteY6" fmla="*/ 1638300 h 2752725"/>
                  <a:gd name="connsiteX7" fmla="*/ 2320660 w 3177910"/>
                  <a:gd name="connsiteY7" fmla="*/ 1933575 h 2752725"/>
                  <a:gd name="connsiteX8" fmla="*/ 3177910 w 3177910"/>
                  <a:gd name="connsiteY8" fmla="*/ 2752725 h 2752725"/>
                  <a:gd name="connsiteX0" fmla="*/ 245915 w 3179615"/>
                  <a:gd name="connsiteY0" fmla="*/ 0 h 2752725"/>
                  <a:gd name="connsiteX1" fmla="*/ 189526 w 3179615"/>
                  <a:gd name="connsiteY1" fmla="*/ 367826 h 2752725"/>
                  <a:gd name="connsiteX2" fmla="*/ 105418 w 3179615"/>
                  <a:gd name="connsiteY2" fmla="*/ 636289 h 2752725"/>
                  <a:gd name="connsiteX3" fmla="*/ 8010 w 3179615"/>
                  <a:gd name="connsiteY3" fmla="*/ 875820 h 2752725"/>
                  <a:gd name="connsiteX4" fmla="*/ 328467 w 3179615"/>
                  <a:gd name="connsiteY4" fmla="*/ 977555 h 2752725"/>
                  <a:gd name="connsiteX5" fmla="*/ 752359 w 3179615"/>
                  <a:gd name="connsiteY5" fmla="*/ 1180459 h 2752725"/>
                  <a:gd name="connsiteX6" fmla="*/ 1550840 w 3179615"/>
                  <a:gd name="connsiteY6" fmla="*/ 1638300 h 2752725"/>
                  <a:gd name="connsiteX7" fmla="*/ 2322365 w 3179615"/>
                  <a:gd name="connsiteY7" fmla="*/ 1933575 h 2752725"/>
                  <a:gd name="connsiteX8" fmla="*/ 3179615 w 3179615"/>
                  <a:gd name="connsiteY8" fmla="*/ 2752725 h 2752725"/>
                  <a:gd name="connsiteX0" fmla="*/ 251101 w 3184801"/>
                  <a:gd name="connsiteY0" fmla="*/ 0 h 2752725"/>
                  <a:gd name="connsiteX1" fmla="*/ 194712 w 3184801"/>
                  <a:gd name="connsiteY1" fmla="*/ 367826 h 2752725"/>
                  <a:gd name="connsiteX2" fmla="*/ 110604 w 3184801"/>
                  <a:gd name="connsiteY2" fmla="*/ 636289 h 2752725"/>
                  <a:gd name="connsiteX3" fmla="*/ 7688 w 3184801"/>
                  <a:gd name="connsiteY3" fmla="*/ 902394 h 2752725"/>
                  <a:gd name="connsiteX4" fmla="*/ 333653 w 3184801"/>
                  <a:gd name="connsiteY4" fmla="*/ 977555 h 2752725"/>
                  <a:gd name="connsiteX5" fmla="*/ 757545 w 3184801"/>
                  <a:gd name="connsiteY5" fmla="*/ 1180459 h 2752725"/>
                  <a:gd name="connsiteX6" fmla="*/ 1556026 w 3184801"/>
                  <a:gd name="connsiteY6" fmla="*/ 1638300 h 2752725"/>
                  <a:gd name="connsiteX7" fmla="*/ 2327551 w 3184801"/>
                  <a:gd name="connsiteY7" fmla="*/ 1933575 h 2752725"/>
                  <a:gd name="connsiteX8" fmla="*/ 3184801 w 3184801"/>
                  <a:gd name="connsiteY8" fmla="*/ 2752725 h 2752725"/>
                  <a:gd name="connsiteX0" fmla="*/ 245187 w 3178887"/>
                  <a:gd name="connsiteY0" fmla="*/ 0 h 2752725"/>
                  <a:gd name="connsiteX1" fmla="*/ 188798 w 3178887"/>
                  <a:gd name="connsiteY1" fmla="*/ 367826 h 2752725"/>
                  <a:gd name="connsiteX2" fmla="*/ 104690 w 3178887"/>
                  <a:gd name="connsiteY2" fmla="*/ 636289 h 2752725"/>
                  <a:gd name="connsiteX3" fmla="*/ 1774 w 3178887"/>
                  <a:gd name="connsiteY3" fmla="*/ 902394 h 2752725"/>
                  <a:gd name="connsiteX4" fmla="*/ 327739 w 3178887"/>
                  <a:gd name="connsiteY4" fmla="*/ 977555 h 2752725"/>
                  <a:gd name="connsiteX5" fmla="*/ 751631 w 3178887"/>
                  <a:gd name="connsiteY5" fmla="*/ 1180459 h 2752725"/>
                  <a:gd name="connsiteX6" fmla="*/ 1550112 w 3178887"/>
                  <a:gd name="connsiteY6" fmla="*/ 1638300 h 2752725"/>
                  <a:gd name="connsiteX7" fmla="*/ 2321637 w 3178887"/>
                  <a:gd name="connsiteY7" fmla="*/ 1933575 h 2752725"/>
                  <a:gd name="connsiteX8" fmla="*/ 3178887 w 3178887"/>
                  <a:gd name="connsiteY8" fmla="*/ 2752725 h 2752725"/>
                  <a:gd name="connsiteX0" fmla="*/ 239784 w 3173484"/>
                  <a:gd name="connsiteY0" fmla="*/ 0 h 2752725"/>
                  <a:gd name="connsiteX1" fmla="*/ 183395 w 3173484"/>
                  <a:gd name="connsiteY1" fmla="*/ 367826 h 2752725"/>
                  <a:gd name="connsiteX2" fmla="*/ 99287 w 3173484"/>
                  <a:gd name="connsiteY2" fmla="*/ 636289 h 2752725"/>
                  <a:gd name="connsiteX3" fmla="*/ 1878 w 3173484"/>
                  <a:gd name="connsiteY3" fmla="*/ 862534 h 2752725"/>
                  <a:gd name="connsiteX4" fmla="*/ 322336 w 3173484"/>
                  <a:gd name="connsiteY4" fmla="*/ 977555 h 2752725"/>
                  <a:gd name="connsiteX5" fmla="*/ 746228 w 3173484"/>
                  <a:gd name="connsiteY5" fmla="*/ 1180459 h 2752725"/>
                  <a:gd name="connsiteX6" fmla="*/ 1544709 w 3173484"/>
                  <a:gd name="connsiteY6" fmla="*/ 1638300 h 2752725"/>
                  <a:gd name="connsiteX7" fmla="*/ 2316234 w 3173484"/>
                  <a:gd name="connsiteY7" fmla="*/ 1933575 h 2752725"/>
                  <a:gd name="connsiteX8" fmla="*/ 3173484 w 3173484"/>
                  <a:gd name="connsiteY8" fmla="*/ 2752725 h 2752725"/>
                  <a:gd name="connsiteX0" fmla="*/ 213034 w 3146734"/>
                  <a:gd name="connsiteY0" fmla="*/ 0 h 2752725"/>
                  <a:gd name="connsiteX1" fmla="*/ 156645 w 3146734"/>
                  <a:gd name="connsiteY1" fmla="*/ 367826 h 2752725"/>
                  <a:gd name="connsiteX2" fmla="*/ 72537 w 3146734"/>
                  <a:gd name="connsiteY2" fmla="*/ 636289 h 2752725"/>
                  <a:gd name="connsiteX3" fmla="*/ 2666 w 3146734"/>
                  <a:gd name="connsiteY3" fmla="*/ 882464 h 2752725"/>
                  <a:gd name="connsiteX4" fmla="*/ 295586 w 3146734"/>
                  <a:gd name="connsiteY4" fmla="*/ 977555 h 2752725"/>
                  <a:gd name="connsiteX5" fmla="*/ 719478 w 3146734"/>
                  <a:gd name="connsiteY5" fmla="*/ 1180459 h 2752725"/>
                  <a:gd name="connsiteX6" fmla="*/ 1517959 w 3146734"/>
                  <a:gd name="connsiteY6" fmla="*/ 1638300 h 2752725"/>
                  <a:gd name="connsiteX7" fmla="*/ 2289484 w 3146734"/>
                  <a:gd name="connsiteY7" fmla="*/ 1933575 h 2752725"/>
                  <a:gd name="connsiteX8" fmla="*/ 3146734 w 3146734"/>
                  <a:gd name="connsiteY8" fmla="*/ 2752725 h 2752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6734" h="2752725">
                    <a:moveTo>
                      <a:pt x="213034" y="0"/>
                    </a:moveTo>
                    <a:cubicBezTo>
                      <a:pt x="186840" y="209550"/>
                      <a:pt x="180061" y="261778"/>
                      <a:pt x="156645" y="367826"/>
                    </a:cubicBezTo>
                    <a:cubicBezTo>
                      <a:pt x="133229" y="473874"/>
                      <a:pt x="104626" y="551623"/>
                      <a:pt x="72537" y="636289"/>
                    </a:cubicBezTo>
                    <a:cubicBezTo>
                      <a:pt x="40448" y="720955"/>
                      <a:pt x="-12477" y="832229"/>
                      <a:pt x="2666" y="882464"/>
                    </a:cubicBezTo>
                    <a:cubicBezTo>
                      <a:pt x="17809" y="932699"/>
                      <a:pt x="176117" y="927889"/>
                      <a:pt x="295586" y="977555"/>
                    </a:cubicBezTo>
                    <a:cubicBezTo>
                      <a:pt x="415055" y="1027221"/>
                      <a:pt x="515749" y="1070335"/>
                      <a:pt x="719478" y="1180459"/>
                    </a:cubicBezTo>
                    <a:cubicBezTo>
                      <a:pt x="923207" y="1290583"/>
                      <a:pt x="1256291" y="1512781"/>
                      <a:pt x="1517959" y="1638300"/>
                    </a:cubicBezTo>
                    <a:cubicBezTo>
                      <a:pt x="1779627" y="1763819"/>
                      <a:pt x="2018022" y="1747838"/>
                      <a:pt x="2289484" y="1933575"/>
                    </a:cubicBezTo>
                    <a:cubicBezTo>
                      <a:pt x="2560946" y="2119312"/>
                      <a:pt x="2853840" y="2436018"/>
                      <a:pt x="3146734" y="2752725"/>
                    </a:cubicBezTo>
                  </a:path>
                </a:pathLst>
              </a:custGeom>
              <a:ln w="38100">
                <a:solidFill>
                  <a:srgbClr val="0070C0"/>
                </a:solidFill>
              </a:ln>
            </p:spPr>
            <p:style>
              <a:lnRef idx="1">
                <a:schemeClr val="accent1"/>
              </a:lnRef>
              <a:fillRef idx="0">
                <a:schemeClr val="accent1"/>
              </a:fillRef>
              <a:effectRef idx="0">
                <a:schemeClr val="accent1"/>
              </a:effectRef>
              <a:fontRef idx="minor">
                <a:schemeClr val="tx1"/>
              </a:fontRef>
            </p:style>
            <p:txBody>
              <a:bodyPr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eaLnBrk="1" hangingPunct="1">
                  <a:defRPr/>
                </a:pPr>
                <a:endParaRPr lang="it-IT"/>
              </a:p>
            </p:txBody>
          </p:sp>
          <p:sp>
            <p:nvSpPr>
              <p:cNvPr id="80" name="Figura a mano libera 25">
                <a:extLst>
                  <a:ext uri="{FF2B5EF4-FFF2-40B4-BE49-F238E27FC236}">
                    <a16:creationId xmlns:a16="http://schemas.microsoft.com/office/drawing/2014/main" id="{EF2880E8-2398-4092-A5C0-0532730770F3}"/>
                  </a:ext>
                </a:extLst>
              </p:cNvPr>
              <p:cNvSpPr/>
              <p:nvPr/>
            </p:nvSpPr>
            <p:spPr>
              <a:xfrm>
                <a:off x="1270368" y="1841857"/>
                <a:ext cx="3589769" cy="1276260"/>
              </a:xfrm>
              <a:custGeom>
                <a:avLst/>
                <a:gdLst>
                  <a:gd name="connsiteX0" fmla="*/ 3533775 w 3533775"/>
                  <a:gd name="connsiteY0" fmla="*/ 552450 h 1390650"/>
                  <a:gd name="connsiteX1" fmla="*/ 3486150 w 3533775"/>
                  <a:gd name="connsiteY1" fmla="*/ 971550 h 1390650"/>
                  <a:gd name="connsiteX2" fmla="*/ 3305175 w 3533775"/>
                  <a:gd name="connsiteY2" fmla="*/ 1333500 h 1390650"/>
                  <a:gd name="connsiteX3" fmla="*/ 3162300 w 3533775"/>
                  <a:gd name="connsiteY3" fmla="*/ 1314450 h 1390650"/>
                  <a:gd name="connsiteX4" fmla="*/ 2619375 w 3533775"/>
                  <a:gd name="connsiteY4" fmla="*/ 1066800 h 1390650"/>
                  <a:gd name="connsiteX5" fmla="*/ 1914525 w 3533775"/>
                  <a:gd name="connsiteY5" fmla="*/ 876300 h 1390650"/>
                  <a:gd name="connsiteX6" fmla="*/ 1019175 w 3533775"/>
                  <a:gd name="connsiteY6" fmla="*/ 771525 h 1390650"/>
                  <a:gd name="connsiteX7" fmla="*/ 733425 w 3533775"/>
                  <a:gd name="connsiteY7" fmla="*/ 647700 h 1390650"/>
                  <a:gd name="connsiteX8" fmla="*/ 0 w 3533775"/>
                  <a:gd name="connsiteY8" fmla="*/ 0 h 1390650"/>
                  <a:gd name="connsiteX0" fmla="*/ 3533775 w 3533775"/>
                  <a:gd name="connsiteY0" fmla="*/ 492372 h 1304247"/>
                  <a:gd name="connsiteX1" fmla="*/ 3486150 w 3533775"/>
                  <a:gd name="connsiteY1" fmla="*/ 911472 h 1304247"/>
                  <a:gd name="connsiteX2" fmla="*/ 3305175 w 3533775"/>
                  <a:gd name="connsiteY2" fmla="*/ 1273422 h 1304247"/>
                  <a:gd name="connsiteX3" fmla="*/ 3162300 w 3533775"/>
                  <a:gd name="connsiteY3" fmla="*/ 1254372 h 1304247"/>
                  <a:gd name="connsiteX4" fmla="*/ 2619375 w 3533775"/>
                  <a:gd name="connsiteY4" fmla="*/ 1006722 h 1304247"/>
                  <a:gd name="connsiteX5" fmla="*/ 1914525 w 3533775"/>
                  <a:gd name="connsiteY5" fmla="*/ 816222 h 1304247"/>
                  <a:gd name="connsiteX6" fmla="*/ 1019175 w 3533775"/>
                  <a:gd name="connsiteY6" fmla="*/ 711447 h 1304247"/>
                  <a:gd name="connsiteX7" fmla="*/ 733425 w 3533775"/>
                  <a:gd name="connsiteY7" fmla="*/ 587622 h 1304247"/>
                  <a:gd name="connsiteX8" fmla="*/ 0 w 3533775"/>
                  <a:gd name="connsiteY8" fmla="*/ 0 h 1304247"/>
                  <a:gd name="connsiteX0" fmla="*/ 3533775 w 3533775"/>
                  <a:gd name="connsiteY0" fmla="*/ 492372 h 1304247"/>
                  <a:gd name="connsiteX1" fmla="*/ 3486150 w 3533775"/>
                  <a:gd name="connsiteY1" fmla="*/ 911472 h 1304247"/>
                  <a:gd name="connsiteX2" fmla="*/ 3305175 w 3533775"/>
                  <a:gd name="connsiteY2" fmla="*/ 1273422 h 1304247"/>
                  <a:gd name="connsiteX3" fmla="*/ 3162300 w 3533775"/>
                  <a:gd name="connsiteY3" fmla="*/ 1254372 h 1304247"/>
                  <a:gd name="connsiteX4" fmla="*/ 2619375 w 3533775"/>
                  <a:gd name="connsiteY4" fmla="*/ 1006722 h 1304247"/>
                  <a:gd name="connsiteX5" fmla="*/ 1914525 w 3533775"/>
                  <a:gd name="connsiteY5" fmla="*/ 816222 h 1304247"/>
                  <a:gd name="connsiteX6" fmla="*/ 1019175 w 3533775"/>
                  <a:gd name="connsiteY6" fmla="*/ 711447 h 1304247"/>
                  <a:gd name="connsiteX7" fmla="*/ 291812 w 3533775"/>
                  <a:gd name="connsiteY7" fmla="*/ 399423 h 1304247"/>
                  <a:gd name="connsiteX8" fmla="*/ 0 w 3533775"/>
                  <a:gd name="connsiteY8" fmla="*/ 0 h 1304247"/>
                  <a:gd name="connsiteX0" fmla="*/ 3550131 w 3550131"/>
                  <a:gd name="connsiteY0" fmla="*/ 417093 h 1228968"/>
                  <a:gd name="connsiteX1" fmla="*/ 3502506 w 3550131"/>
                  <a:gd name="connsiteY1" fmla="*/ 836193 h 1228968"/>
                  <a:gd name="connsiteX2" fmla="*/ 3321531 w 3550131"/>
                  <a:gd name="connsiteY2" fmla="*/ 1198143 h 1228968"/>
                  <a:gd name="connsiteX3" fmla="*/ 3178656 w 3550131"/>
                  <a:gd name="connsiteY3" fmla="*/ 1179093 h 1228968"/>
                  <a:gd name="connsiteX4" fmla="*/ 2635731 w 3550131"/>
                  <a:gd name="connsiteY4" fmla="*/ 931443 h 1228968"/>
                  <a:gd name="connsiteX5" fmla="*/ 1930881 w 3550131"/>
                  <a:gd name="connsiteY5" fmla="*/ 740943 h 1228968"/>
                  <a:gd name="connsiteX6" fmla="*/ 1035531 w 3550131"/>
                  <a:gd name="connsiteY6" fmla="*/ 636168 h 1228968"/>
                  <a:gd name="connsiteX7" fmla="*/ 308168 w 3550131"/>
                  <a:gd name="connsiteY7" fmla="*/ 324144 h 1228968"/>
                  <a:gd name="connsiteX8" fmla="*/ 0 w 3550131"/>
                  <a:gd name="connsiteY8" fmla="*/ 0 h 1228968"/>
                  <a:gd name="connsiteX0" fmla="*/ 3550131 w 3550131"/>
                  <a:gd name="connsiteY0" fmla="*/ 417093 h 1197759"/>
                  <a:gd name="connsiteX1" fmla="*/ 3502506 w 3550131"/>
                  <a:gd name="connsiteY1" fmla="*/ 836193 h 1197759"/>
                  <a:gd name="connsiteX2" fmla="*/ 3354244 w 3550131"/>
                  <a:gd name="connsiteY2" fmla="*/ 1141684 h 1197759"/>
                  <a:gd name="connsiteX3" fmla="*/ 3178656 w 3550131"/>
                  <a:gd name="connsiteY3" fmla="*/ 1179093 h 1197759"/>
                  <a:gd name="connsiteX4" fmla="*/ 2635731 w 3550131"/>
                  <a:gd name="connsiteY4" fmla="*/ 931443 h 1197759"/>
                  <a:gd name="connsiteX5" fmla="*/ 1930881 w 3550131"/>
                  <a:gd name="connsiteY5" fmla="*/ 740943 h 1197759"/>
                  <a:gd name="connsiteX6" fmla="*/ 1035531 w 3550131"/>
                  <a:gd name="connsiteY6" fmla="*/ 636168 h 1197759"/>
                  <a:gd name="connsiteX7" fmla="*/ 308168 w 3550131"/>
                  <a:gd name="connsiteY7" fmla="*/ 324144 h 1197759"/>
                  <a:gd name="connsiteX8" fmla="*/ 0 w 3550131"/>
                  <a:gd name="connsiteY8" fmla="*/ 0 h 1197759"/>
                  <a:gd name="connsiteX0" fmla="*/ 3550131 w 3550131"/>
                  <a:gd name="connsiteY0" fmla="*/ 417093 h 1195142"/>
                  <a:gd name="connsiteX1" fmla="*/ 3502506 w 3550131"/>
                  <a:gd name="connsiteY1" fmla="*/ 836193 h 1195142"/>
                  <a:gd name="connsiteX2" fmla="*/ 3354244 w 3550131"/>
                  <a:gd name="connsiteY2" fmla="*/ 1134066 h 1195142"/>
                  <a:gd name="connsiteX3" fmla="*/ 3178656 w 3550131"/>
                  <a:gd name="connsiteY3" fmla="*/ 1179093 h 1195142"/>
                  <a:gd name="connsiteX4" fmla="*/ 2635731 w 3550131"/>
                  <a:gd name="connsiteY4" fmla="*/ 931443 h 1195142"/>
                  <a:gd name="connsiteX5" fmla="*/ 1930881 w 3550131"/>
                  <a:gd name="connsiteY5" fmla="*/ 740943 h 1195142"/>
                  <a:gd name="connsiteX6" fmla="*/ 1035531 w 3550131"/>
                  <a:gd name="connsiteY6" fmla="*/ 636168 h 1195142"/>
                  <a:gd name="connsiteX7" fmla="*/ 308168 w 3550131"/>
                  <a:gd name="connsiteY7" fmla="*/ 324144 h 1195142"/>
                  <a:gd name="connsiteX8" fmla="*/ 0 w 3550131"/>
                  <a:gd name="connsiteY8" fmla="*/ 0 h 1195142"/>
                  <a:gd name="connsiteX0" fmla="*/ 3550131 w 3550131"/>
                  <a:gd name="connsiteY0" fmla="*/ 417093 h 1210793"/>
                  <a:gd name="connsiteX1" fmla="*/ 3502506 w 3550131"/>
                  <a:gd name="connsiteY1" fmla="*/ 836193 h 1210793"/>
                  <a:gd name="connsiteX2" fmla="*/ 3354244 w 3550131"/>
                  <a:gd name="connsiteY2" fmla="*/ 1134066 h 1210793"/>
                  <a:gd name="connsiteX3" fmla="*/ 3178656 w 3550131"/>
                  <a:gd name="connsiteY3" fmla="*/ 1179093 h 1210793"/>
                  <a:gd name="connsiteX4" fmla="*/ 2635731 w 3550131"/>
                  <a:gd name="connsiteY4" fmla="*/ 931443 h 1210793"/>
                  <a:gd name="connsiteX5" fmla="*/ 1930881 w 3550131"/>
                  <a:gd name="connsiteY5" fmla="*/ 740943 h 1210793"/>
                  <a:gd name="connsiteX6" fmla="*/ 1035531 w 3550131"/>
                  <a:gd name="connsiteY6" fmla="*/ 636168 h 1210793"/>
                  <a:gd name="connsiteX7" fmla="*/ 308168 w 3550131"/>
                  <a:gd name="connsiteY7" fmla="*/ 324144 h 1210793"/>
                  <a:gd name="connsiteX8" fmla="*/ 0 w 3550131"/>
                  <a:gd name="connsiteY8" fmla="*/ 0 h 1210793"/>
                  <a:gd name="connsiteX0" fmla="*/ 3550131 w 3550131"/>
                  <a:gd name="connsiteY0" fmla="*/ 417093 h 1208126"/>
                  <a:gd name="connsiteX1" fmla="*/ 3502506 w 3550131"/>
                  <a:gd name="connsiteY1" fmla="*/ 836193 h 1208126"/>
                  <a:gd name="connsiteX2" fmla="*/ 3354244 w 3550131"/>
                  <a:gd name="connsiteY2" fmla="*/ 1134066 h 1208126"/>
                  <a:gd name="connsiteX3" fmla="*/ 3178656 w 3550131"/>
                  <a:gd name="connsiteY3" fmla="*/ 1179093 h 1208126"/>
                  <a:gd name="connsiteX4" fmla="*/ 2635731 w 3550131"/>
                  <a:gd name="connsiteY4" fmla="*/ 931443 h 1208126"/>
                  <a:gd name="connsiteX5" fmla="*/ 1930881 w 3550131"/>
                  <a:gd name="connsiteY5" fmla="*/ 740943 h 1208126"/>
                  <a:gd name="connsiteX6" fmla="*/ 1035531 w 3550131"/>
                  <a:gd name="connsiteY6" fmla="*/ 636168 h 1208126"/>
                  <a:gd name="connsiteX7" fmla="*/ 308168 w 3550131"/>
                  <a:gd name="connsiteY7" fmla="*/ 324144 h 1208126"/>
                  <a:gd name="connsiteX8" fmla="*/ 0 w 3550131"/>
                  <a:gd name="connsiteY8" fmla="*/ 0 h 1208126"/>
                  <a:gd name="connsiteX0" fmla="*/ 3550131 w 3550131"/>
                  <a:gd name="connsiteY0" fmla="*/ 417093 h 1216392"/>
                  <a:gd name="connsiteX1" fmla="*/ 3502506 w 3550131"/>
                  <a:gd name="connsiteY1" fmla="*/ 836193 h 1216392"/>
                  <a:gd name="connsiteX2" fmla="*/ 3354244 w 3550131"/>
                  <a:gd name="connsiteY2" fmla="*/ 1134066 h 1216392"/>
                  <a:gd name="connsiteX3" fmla="*/ 3178656 w 3550131"/>
                  <a:gd name="connsiteY3" fmla="*/ 1179093 h 1216392"/>
                  <a:gd name="connsiteX4" fmla="*/ 2635731 w 3550131"/>
                  <a:gd name="connsiteY4" fmla="*/ 931443 h 1216392"/>
                  <a:gd name="connsiteX5" fmla="*/ 1930881 w 3550131"/>
                  <a:gd name="connsiteY5" fmla="*/ 740943 h 1216392"/>
                  <a:gd name="connsiteX6" fmla="*/ 1035531 w 3550131"/>
                  <a:gd name="connsiteY6" fmla="*/ 636168 h 1216392"/>
                  <a:gd name="connsiteX7" fmla="*/ 308168 w 3550131"/>
                  <a:gd name="connsiteY7" fmla="*/ 324144 h 1216392"/>
                  <a:gd name="connsiteX8" fmla="*/ 0 w 3550131"/>
                  <a:gd name="connsiteY8" fmla="*/ 0 h 1216392"/>
                  <a:gd name="connsiteX0" fmla="*/ 3550131 w 3550131"/>
                  <a:gd name="connsiteY0" fmla="*/ 417093 h 1195414"/>
                  <a:gd name="connsiteX1" fmla="*/ 3502507 w 3550131"/>
                  <a:gd name="connsiteY1" fmla="*/ 828572 h 1195414"/>
                  <a:gd name="connsiteX2" fmla="*/ 3354244 w 3550131"/>
                  <a:gd name="connsiteY2" fmla="*/ 1134066 h 1195414"/>
                  <a:gd name="connsiteX3" fmla="*/ 3178656 w 3550131"/>
                  <a:gd name="connsiteY3" fmla="*/ 1179093 h 1195414"/>
                  <a:gd name="connsiteX4" fmla="*/ 2635731 w 3550131"/>
                  <a:gd name="connsiteY4" fmla="*/ 931443 h 1195414"/>
                  <a:gd name="connsiteX5" fmla="*/ 1930881 w 3550131"/>
                  <a:gd name="connsiteY5" fmla="*/ 740943 h 1195414"/>
                  <a:gd name="connsiteX6" fmla="*/ 1035531 w 3550131"/>
                  <a:gd name="connsiteY6" fmla="*/ 636168 h 1195414"/>
                  <a:gd name="connsiteX7" fmla="*/ 308168 w 3550131"/>
                  <a:gd name="connsiteY7" fmla="*/ 324144 h 1195414"/>
                  <a:gd name="connsiteX8" fmla="*/ 0 w 3550131"/>
                  <a:gd name="connsiteY8" fmla="*/ 0 h 1195414"/>
                  <a:gd name="connsiteX0" fmla="*/ 3596486 w 3596486"/>
                  <a:gd name="connsiteY0" fmla="*/ 409472 h 1195414"/>
                  <a:gd name="connsiteX1" fmla="*/ 3502507 w 3596486"/>
                  <a:gd name="connsiteY1" fmla="*/ 828572 h 1195414"/>
                  <a:gd name="connsiteX2" fmla="*/ 3354244 w 3596486"/>
                  <a:gd name="connsiteY2" fmla="*/ 1134066 h 1195414"/>
                  <a:gd name="connsiteX3" fmla="*/ 3178656 w 3596486"/>
                  <a:gd name="connsiteY3" fmla="*/ 1179093 h 1195414"/>
                  <a:gd name="connsiteX4" fmla="*/ 2635731 w 3596486"/>
                  <a:gd name="connsiteY4" fmla="*/ 931443 h 1195414"/>
                  <a:gd name="connsiteX5" fmla="*/ 1930881 w 3596486"/>
                  <a:gd name="connsiteY5" fmla="*/ 740943 h 1195414"/>
                  <a:gd name="connsiteX6" fmla="*/ 1035531 w 3596486"/>
                  <a:gd name="connsiteY6" fmla="*/ 636168 h 1195414"/>
                  <a:gd name="connsiteX7" fmla="*/ 308168 w 3596486"/>
                  <a:gd name="connsiteY7" fmla="*/ 324144 h 1195414"/>
                  <a:gd name="connsiteX8" fmla="*/ 0 w 3596486"/>
                  <a:gd name="connsiteY8" fmla="*/ 0 h 1195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96486" h="1195414">
                    <a:moveTo>
                      <a:pt x="3596486" y="409472"/>
                    </a:moveTo>
                    <a:cubicBezTo>
                      <a:pt x="3591723" y="553934"/>
                      <a:pt x="3542881" y="707806"/>
                      <a:pt x="3502507" y="828572"/>
                    </a:cubicBezTo>
                    <a:cubicBezTo>
                      <a:pt x="3462133" y="949338"/>
                      <a:pt x="3408219" y="1075646"/>
                      <a:pt x="3354244" y="1134066"/>
                    </a:cubicBezTo>
                    <a:cubicBezTo>
                      <a:pt x="3300269" y="1192486"/>
                      <a:pt x="3298408" y="1212863"/>
                      <a:pt x="3178656" y="1179093"/>
                    </a:cubicBezTo>
                    <a:cubicBezTo>
                      <a:pt x="3058904" y="1145323"/>
                      <a:pt x="2843694" y="1004468"/>
                      <a:pt x="2635731" y="931443"/>
                    </a:cubicBezTo>
                    <a:cubicBezTo>
                      <a:pt x="2427769" y="858418"/>
                      <a:pt x="2197581" y="790156"/>
                      <a:pt x="1930881" y="740943"/>
                    </a:cubicBezTo>
                    <a:cubicBezTo>
                      <a:pt x="1664181" y="691731"/>
                      <a:pt x="1305983" y="705635"/>
                      <a:pt x="1035531" y="636168"/>
                    </a:cubicBezTo>
                    <a:cubicBezTo>
                      <a:pt x="765079" y="566702"/>
                      <a:pt x="478031" y="452732"/>
                      <a:pt x="308168" y="324144"/>
                    </a:cubicBezTo>
                    <a:cubicBezTo>
                      <a:pt x="138306" y="195557"/>
                      <a:pt x="281781" y="259556"/>
                      <a:pt x="0" y="0"/>
                    </a:cubicBezTo>
                  </a:path>
                </a:pathLst>
              </a:custGeom>
              <a:ln w="38100">
                <a:solidFill>
                  <a:srgbClr val="C00000"/>
                </a:solidFill>
              </a:ln>
            </p:spPr>
            <p:style>
              <a:lnRef idx="1">
                <a:schemeClr val="accent1"/>
              </a:lnRef>
              <a:fillRef idx="0">
                <a:schemeClr val="accent1"/>
              </a:fillRef>
              <a:effectRef idx="0">
                <a:schemeClr val="accent1"/>
              </a:effectRef>
              <a:fontRef idx="minor">
                <a:schemeClr val="tx1"/>
              </a:fontRef>
            </p:style>
            <p:txBody>
              <a:bodyPr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eaLnBrk="1" hangingPunct="1">
                  <a:defRPr/>
                </a:pPr>
                <a:endParaRPr lang="it-IT"/>
              </a:p>
            </p:txBody>
          </p:sp>
        </p:grpSp>
        <p:sp>
          <p:nvSpPr>
            <p:cNvPr id="70" name="CasellaDiTesto 69">
              <a:extLst>
                <a:ext uri="{FF2B5EF4-FFF2-40B4-BE49-F238E27FC236}">
                  <a16:creationId xmlns:a16="http://schemas.microsoft.com/office/drawing/2014/main" id="{EE217812-3109-449F-81F8-5A7DF7FF1114}"/>
                </a:ext>
              </a:extLst>
            </p:cNvPr>
            <p:cNvSpPr txBox="1"/>
            <p:nvPr/>
          </p:nvSpPr>
          <p:spPr>
            <a:xfrm>
              <a:off x="8982256" y="3285755"/>
              <a:ext cx="231162" cy="216396"/>
            </a:xfrm>
            <a:prstGeom prst="ellipse">
              <a:avLst/>
            </a:prstGeom>
            <a:noFill/>
            <a:ln w="19050">
              <a:solidFill>
                <a:srgbClr val="008000"/>
              </a:solidFill>
            </a:ln>
          </p:spPr>
          <p:txBody>
            <a:bodyPr wrap="square" lIns="0" tIns="0" rIns="0" bIns="0" anchor="ctr" anchorCtr="0">
              <a:spAutoFit/>
            </a:bodyPr>
            <a:lstStyle/>
            <a:p>
              <a:pPr algn="ctr"/>
              <a:r>
                <a:rPr lang="it-IT" sz="1000" b="1" dirty="0">
                  <a:solidFill>
                    <a:srgbClr val="008000"/>
                  </a:solidFill>
                </a:rPr>
                <a:t>1c</a:t>
              </a:r>
              <a:endParaRPr lang="it-IT" sz="1000" dirty="0">
                <a:solidFill>
                  <a:srgbClr val="008000"/>
                </a:solidFill>
              </a:endParaRPr>
            </a:p>
          </p:txBody>
        </p:sp>
        <p:sp>
          <p:nvSpPr>
            <p:cNvPr id="74" name="CasellaDiTesto 73">
              <a:extLst>
                <a:ext uri="{FF2B5EF4-FFF2-40B4-BE49-F238E27FC236}">
                  <a16:creationId xmlns:a16="http://schemas.microsoft.com/office/drawing/2014/main" id="{9C44C8F6-9988-4365-817C-0CB4DC5FE05C}"/>
                </a:ext>
              </a:extLst>
            </p:cNvPr>
            <p:cNvSpPr txBox="1"/>
            <p:nvPr/>
          </p:nvSpPr>
          <p:spPr>
            <a:xfrm>
              <a:off x="7999447" y="2607403"/>
              <a:ext cx="231162" cy="216396"/>
            </a:xfrm>
            <a:prstGeom prst="ellipse">
              <a:avLst/>
            </a:prstGeom>
            <a:noFill/>
            <a:ln w="19050">
              <a:solidFill>
                <a:srgbClr val="C00000"/>
              </a:solidFill>
            </a:ln>
          </p:spPr>
          <p:txBody>
            <a:bodyPr wrap="square" lIns="0" tIns="0" rIns="0" bIns="0" anchor="ctr" anchorCtr="0">
              <a:spAutoFit/>
            </a:bodyPr>
            <a:lstStyle/>
            <a:p>
              <a:pPr algn="ctr"/>
              <a:r>
                <a:rPr lang="it-IT" sz="1000" b="1" dirty="0">
                  <a:solidFill>
                    <a:srgbClr val="C00000"/>
                  </a:solidFill>
                </a:rPr>
                <a:t>3c</a:t>
              </a:r>
              <a:endParaRPr lang="it-IT" sz="1000" dirty="0">
                <a:solidFill>
                  <a:srgbClr val="C00000"/>
                </a:solidFill>
              </a:endParaRPr>
            </a:p>
          </p:txBody>
        </p:sp>
        <p:sp>
          <p:nvSpPr>
            <p:cNvPr id="75" name="CasellaDiTesto 74">
              <a:extLst>
                <a:ext uri="{FF2B5EF4-FFF2-40B4-BE49-F238E27FC236}">
                  <a16:creationId xmlns:a16="http://schemas.microsoft.com/office/drawing/2014/main" id="{EFF1EF5A-31DB-48F9-929E-ED94F5092002}"/>
                </a:ext>
              </a:extLst>
            </p:cNvPr>
            <p:cNvSpPr txBox="1"/>
            <p:nvPr/>
          </p:nvSpPr>
          <p:spPr>
            <a:xfrm>
              <a:off x="10073848" y="3304650"/>
              <a:ext cx="231162" cy="216396"/>
            </a:xfrm>
            <a:prstGeom prst="ellipse">
              <a:avLst/>
            </a:prstGeom>
            <a:noFill/>
            <a:ln w="19050">
              <a:solidFill>
                <a:srgbClr val="0070C0"/>
              </a:solidFill>
            </a:ln>
          </p:spPr>
          <p:txBody>
            <a:bodyPr wrap="square" lIns="0" tIns="0" rIns="0" bIns="0" anchor="ctr" anchorCtr="0">
              <a:spAutoFit/>
            </a:bodyPr>
            <a:lstStyle/>
            <a:p>
              <a:pPr algn="ctr"/>
              <a:r>
                <a:rPr lang="it-IT" sz="1000" b="1" dirty="0">
                  <a:solidFill>
                    <a:srgbClr val="0070C0"/>
                  </a:solidFill>
                </a:rPr>
                <a:t>2b</a:t>
              </a:r>
              <a:endParaRPr lang="it-IT" sz="1000" dirty="0">
                <a:solidFill>
                  <a:srgbClr val="0070C0"/>
                </a:solidFill>
              </a:endParaRPr>
            </a:p>
          </p:txBody>
        </p:sp>
      </p:grpSp>
      <p:sp>
        <p:nvSpPr>
          <p:cNvPr id="6" name="CasellaDiTesto 5">
            <a:extLst>
              <a:ext uri="{FF2B5EF4-FFF2-40B4-BE49-F238E27FC236}">
                <a16:creationId xmlns:a16="http://schemas.microsoft.com/office/drawing/2014/main" id="{8C74D970-30D5-453A-9E0F-65F0691E3E3C}"/>
              </a:ext>
            </a:extLst>
          </p:cNvPr>
          <p:cNvSpPr txBox="1"/>
          <p:nvPr/>
        </p:nvSpPr>
        <p:spPr>
          <a:xfrm>
            <a:off x="579568" y="3915983"/>
            <a:ext cx="3560916" cy="861774"/>
          </a:xfrm>
          <a:prstGeom prst="rect">
            <a:avLst/>
          </a:prstGeom>
          <a:solidFill>
            <a:schemeClr val="bg1"/>
          </a:solidFill>
          <a:ln>
            <a:solidFill>
              <a:srgbClr val="003300"/>
            </a:solidFill>
          </a:ln>
        </p:spPr>
        <p:txBody>
          <a:bodyPr wrap="square" rtlCol="0">
            <a:spAutoFit/>
          </a:bodyPr>
          <a:lstStyle/>
          <a:p>
            <a:pPr rtl="0" eaLnBrk="1" fontAlgn="ctr" latinLnBrk="0" hangingPunct="1">
              <a:spcBef>
                <a:spcPts val="0"/>
              </a:spcBef>
              <a:spcAft>
                <a:spcPts val="0"/>
              </a:spcAft>
            </a:pPr>
            <a:r>
              <a:rPr lang="it-IT" sz="1000" b="1" i="0" u="none" strike="noStrike" kern="1200" dirty="0">
                <a:solidFill>
                  <a:srgbClr val="00B050"/>
                </a:solidFill>
                <a:effectLst/>
                <a:latin typeface="Univers" panose="020B0503020202020204" pitchFamily="34" charset="0"/>
                <a:ea typeface="맑은 고딕" panose="020B0503020000020004" pitchFamily="34" charset="-127"/>
              </a:rPr>
              <a:t>1a)</a:t>
            </a:r>
            <a:r>
              <a:rPr lang="it-IT" sz="1000" b="1" i="0" u="none" strike="noStrike" kern="1200" dirty="0">
                <a:solidFill>
                  <a:srgbClr val="FFFFFF"/>
                </a:solidFill>
                <a:effectLst/>
                <a:latin typeface="Univers" panose="020B0503020202020204" pitchFamily="34" charset="0"/>
                <a:ea typeface="맑은 고딕" panose="020B0503020000020004" pitchFamily="34" charset="-127"/>
              </a:rPr>
              <a:t> </a:t>
            </a:r>
            <a:r>
              <a:rPr lang="it-IT" sz="1000" i="0" u="none" strike="noStrike" kern="1200" dirty="0">
                <a:solidFill>
                  <a:schemeClr val="accent6">
                    <a:lumMod val="10000"/>
                  </a:schemeClr>
                </a:solidFill>
                <a:effectLst/>
                <a:latin typeface="Univers" panose="020B0503020202020204" pitchFamily="34" charset="0"/>
                <a:ea typeface="맑은 고딕" panose="020B0503020000020004" pitchFamily="34" charset="-127"/>
              </a:rPr>
              <a:t>Moconesi – Rapallo via SP58</a:t>
            </a:r>
            <a:endParaRPr lang="it-IT" sz="1000" i="0" u="none" strike="noStrike" dirty="0">
              <a:effectLst/>
              <a:latin typeface="Arial" panose="020B0604020202020204" pitchFamily="34" charset="0"/>
            </a:endParaRPr>
          </a:p>
          <a:p>
            <a:pPr rtl="0" eaLnBrk="1" fontAlgn="ctr" latinLnBrk="0" hangingPunct="1">
              <a:spcBef>
                <a:spcPts val="0"/>
              </a:spcBef>
              <a:spcAft>
                <a:spcPts val="0"/>
              </a:spcAft>
            </a:pPr>
            <a:r>
              <a:rPr lang="it-IT" sz="1000" b="1" i="0" u="none" strike="noStrike" kern="1200" dirty="0">
                <a:solidFill>
                  <a:srgbClr val="003300"/>
                </a:solidFill>
                <a:effectLst/>
                <a:latin typeface="Univers" panose="020B0503020202020204" pitchFamily="34" charset="0"/>
                <a:ea typeface="맑은 고딕" panose="020B0503020000020004" pitchFamily="34" charset="-127"/>
              </a:rPr>
              <a:t>1b)</a:t>
            </a:r>
            <a:r>
              <a:rPr lang="it-IT" sz="1000" b="0" i="0" u="none" strike="noStrike" kern="1200" dirty="0">
                <a:solidFill>
                  <a:srgbClr val="0065A4"/>
                </a:solidFill>
                <a:effectLst/>
                <a:latin typeface="Univers" panose="020B0503020202020204" pitchFamily="34" charset="0"/>
                <a:ea typeface="맑은 고딕" panose="020B0503020000020004" pitchFamily="34" charset="-127"/>
              </a:rPr>
              <a:t> </a:t>
            </a:r>
            <a:r>
              <a:rPr lang="it-IT" sz="1000" i="0" u="none" strike="noStrike" kern="1200" dirty="0">
                <a:solidFill>
                  <a:schemeClr val="accent6">
                    <a:lumMod val="10000"/>
                  </a:schemeClr>
                </a:solidFill>
                <a:effectLst/>
                <a:latin typeface="Univers" panose="020B0503020202020204" pitchFamily="34" charset="0"/>
                <a:ea typeface="맑은 고딕" panose="020B0503020000020004" pitchFamily="34" charset="-127"/>
              </a:rPr>
              <a:t>Moconesi – Rapallo via Lavagna</a:t>
            </a:r>
          </a:p>
          <a:p>
            <a:pPr fontAlgn="ctr"/>
            <a:r>
              <a:rPr lang="it-IT" sz="1000" b="1" i="0" u="none" strike="noStrike" kern="1200" dirty="0">
                <a:solidFill>
                  <a:srgbClr val="004C7B"/>
                </a:solidFill>
                <a:effectLst/>
                <a:latin typeface="Univers" panose="020B0503020202020204" pitchFamily="34" charset="0"/>
                <a:ea typeface="맑은 고딕" panose="020B0503020000020004" pitchFamily="34" charset="-127"/>
              </a:rPr>
              <a:t>2a)</a:t>
            </a:r>
            <a:r>
              <a:rPr lang="it-IT" sz="1000" i="0" u="none" strike="noStrike" kern="1200" dirty="0">
                <a:solidFill>
                  <a:srgbClr val="0065A4"/>
                </a:solidFill>
                <a:effectLst/>
                <a:latin typeface="Univers" panose="020B0503020202020204" pitchFamily="34" charset="0"/>
                <a:ea typeface="맑은 고딕" panose="020B0503020000020004" pitchFamily="34" charset="-127"/>
              </a:rPr>
              <a:t> </a:t>
            </a:r>
            <a:r>
              <a:rPr lang="it-IT" sz="1000" i="0" u="none" strike="noStrike" kern="1200" dirty="0">
                <a:solidFill>
                  <a:schemeClr val="accent6">
                    <a:lumMod val="10000"/>
                  </a:schemeClr>
                </a:solidFill>
                <a:effectLst/>
                <a:latin typeface="Univers" panose="020B0503020202020204" pitchFamily="34" charset="0"/>
                <a:ea typeface="맑은 고딕" panose="020B0503020000020004" pitchFamily="34" charset="-127"/>
              </a:rPr>
              <a:t>Moconesi – A12 </a:t>
            </a:r>
            <a:r>
              <a:rPr lang="it-IT" sz="1000" i="0" u="none" strike="noStrike" kern="1200" dirty="0" err="1">
                <a:solidFill>
                  <a:schemeClr val="accent6">
                    <a:lumMod val="10000"/>
                  </a:schemeClr>
                </a:solidFill>
                <a:effectLst/>
                <a:latin typeface="Univers" panose="020B0503020202020204" pitchFamily="34" charset="0"/>
                <a:ea typeface="맑은 고딕" panose="020B0503020000020004" pitchFamily="34" charset="-127"/>
              </a:rPr>
              <a:t>Sv</a:t>
            </a:r>
            <a:r>
              <a:rPr lang="it-IT" sz="1000" i="0" u="none" strike="noStrike" kern="1200" dirty="0">
                <a:solidFill>
                  <a:schemeClr val="accent6">
                    <a:lumMod val="10000"/>
                  </a:schemeClr>
                </a:solidFill>
                <a:effectLst/>
                <a:latin typeface="Univers" panose="020B0503020202020204" pitchFamily="34" charset="0"/>
                <a:ea typeface="맑은 고딕" panose="020B0503020000020004" pitchFamily="34" charset="-127"/>
              </a:rPr>
              <a:t>. Sestri Levante</a:t>
            </a:r>
            <a:r>
              <a:rPr lang="it-IT" sz="1000" dirty="0">
                <a:solidFill>
                  <a:schemeClr val="accent6">
                    <a:lumMod val="10000"/>
                  </a:schemeClr>
                </a:solidFill>
                <a:latin typeface="Arial" panose="020B0604020202020204" pitchFamily="34" charset="0"/>
              </a:rPr>
              <a:t> </a:t>
            </a:r>
            <a:r>
              <a:rPr lang="it-IT" sz="1000" i="0" u="none" strike="noStrike" kern="1200" dirty="0">
                <a:solidFill>
                  <a:schemeClr val="accent6">
                    <a:lumMod val="10000"/>
                  </a:schemeClr>
                </a:solidFill>
                <a:effectLst/>
                <a:latin typeface="Univers" panose="020B0503020202020204" pitchFamily="34" charset="0"/>
                <a:ea typeface="맑은 고딕" panose="020B0503020000020004" pitchFamily="34" charset="-127"/>
              </a:rPr>
              <a:t>via SP225</a:t>
            </a:r>
            <a:endParaRPr lang="it-IT" sz="1000" i="0" u="none" strike="noStrike" dirty="0">
              <a:solidFill>
                <a:schemeClr val="accent6">
                  <a:lumMod val="10000"/>
                </a:schemeClr>
              </a:solidFill>
              <a:effectLst/>
              <a:latin typeface="Arial" panose="020B0604020202020204" pitchFamily="34" charset="0"/>
            </a:endParaRPr>
          </a:p>
          <a:p>
            <a:pPr fontAlgn="ctr"/>
            <a:r>
              <a:rPr lang="it-IT" sz="1000" b="1" i="0" u="none" strike="noStrike" kern="1200" dirty="0">
                <a:solidFill>
                  <a:srgbClr val="F0720A"/>
                </a:solidFill>
                <a:effectLst/>
                <a:latin typeface="Univers" panose="020B0503020202020204" pitchFamily="34" charset="0"/>
                <a:ea typeface="맑은 고딕" panose="020B0503020000020004" pitchFamily="34" charset="-127"/>
              </a:rPr>
              <a:t>3a)</a:t>
            </a:r>
            <a:r>
              <a:rPr lang="it-IT" sz="1000" b="0" i="0" u="none" strike="noStrike" kern="1200" dirty="0">
                <a:solidFill>
                  <a:srgbClr val="0065A4"/>
                </a:solidFill>
                <a:effectLst/>
                <a:latin typeface="Univers" panose="020B0503020202020204" pitchFamily="34" charset="0"/>
                <a:ea typeface="맑은 고딕" panose="020B0503020000020004" pitchFamily="34" charset="-127"/>
              </a:rPr>
              <a:t> </a:t>
            </a:r>
            <a:r>
              <a:rPr lang="it-IT" sz="1000" b="0" i="0" u="none" strike="noStrike" kern="1200" dirty="0">
                <a:solidFill>
                  <a:schemeClr val="accent6">
                    <a:lumMod val="10000"/>
                  </a:schemeClr>
                </a:solidFill>
                <a:effectLst/>
                <a:latin typeface="Univers" panose="020B0503020202020204" pitchFamily="34" charset="0"/>
                <a:ea typeface="맑은 고딕" panose="020B0503020000020004" pitchFamily="34" charset="-127"/>
              </a:rPr>
              <a:t>Moconesi - A12 </a:t>
            </a:r>
            <a:r>
              <a:rPr lang="it-IT" sz="1000" b="0" i="0" u="none" strike="noStrike" kern="1200" dirty="0" err="1">
                <a:solidFill>
                  <a:schemeClr val="accent6">
                    <a:lumMod val="10000"/>
                  </a:schemeClr>
                </a:solidFill>
                <a:effectLst/>
                <a:latin typeface="Univers" panose="020B0503020202020204" pitchFamily="34" charset="0"/>
                <a:ea typeface="맑은 고딕" panose="020B0503020000020004" pitchFamily="34" charset="-127"/>
              </a:rPr>
              <a:t>Sv</a:t>
            </a:r>
            <a:r>
              <a:rPr lang="it-IT" sz="1000" b="0" i="0" u="none" strike="noStrike" kern="1200" dirty="0">
                <a:solidFill>
                  <a:schemeClr val="accent6">
                    <a:lumMod val="10000"/>
                  </a:schemeClr>
                </a:solidFill>
                <a:effectLst/>
                <a:latin typeface="Univers" panose="020B0503020202020204" pitchFamily="34" charset="0"/>
                <a:ea typeface="맑은 고딕" panose="020B0503020000020004" pitchFamily="34" charset="-127"/>
              </a:rPr>
              <a:t>. Genova Est via Tunnel Ferriere</a:t>
            </a:r>
            <a:endParaRPr lang="it-IT" sz="1000" b="0" i="0" u="none" strike="noStrike" dirty="0">
              <a:solidFill>
                <a:schemeClr val="accent6">
                  <a:lumMod val="10000"/>
                </a:schemeClr>
              </a:solidFill>
              <a:effectLst/>
              <a:latin typeface="Arial" panose="020B0604020202020204" pitchFamily="34" charset="0"/>
            </a:endParaRPr>
          </a:p>
          <a:p>
            <a:pPr fontAlgn="ctr"/>
            <a:r>
              <a:rPr lang="it-IT" sz="1000" b="1" i="0" u="none" strike="noStrike" kern="1200" dirty="0">
                <a:solidFill>
                  <a:srgbClr val="FCA60C"/>
                </a:solidFill>
                <a:effectLst/>
                <a:latin typeface="Univers" panose="020B0503020202020204" pitchFamily="34" charset="0"/>
                <a:ea typeface="맑은 고딕" panose="020B0503020000020004" pitchFamily="34" charset="-127"/>
              </a:rPr>
              <a:t>3b)</a:t>
            </a:r>
            <a:r>
              <a:rPr lang="it-IT" sz="1000" b="0" i="0" u="none" strike="noStrike" kern="1200" dirty="0">
                <a:solidFill>
                  <a:srgbClr val="0065A4"/>
                </a:solidFill>
                <a:effectLst/>
                <a:latin typeface="Univers" panose="020B0503020202020204" pitchFamily="34" charset="0"/>
                <a:ea typeface="맑은 고딕" panose="020B0503020000020004" pitchFamily="34" charset="-127"/>
              </a:rPr>
              <a:t> </a:t>
            </a:r>
            <a:r>
              <a:rPr lang="it-IT" sz="1000" b="0" i="0" u="none" strike="noStrike" kern="1200" dirty="0">
                <a:solidFill>
                  <a:schemeClr val="accent6">
                    <a:lumMod val="10000"/>
                  </a:schemeClr>
                </a:solidFill>
                <a:effectLst/>
                <a:latin typeface="Univers" panose="020B0503020202020204" pitchFamily="34" charset="0"/>
                <a:ea typeface="맑은 고딕" panose="020B0503020000020004" pitchFamily="34" charset="-127"/>
              </a:rPr>
              <a:t>Moconesi - A12 </a:t>
            </a:r>
            <a:r>
              <a:rPr lang="it-IT" sz="1000" b="0" i="0" u="none" strike="noStrike" kern="1200" dirty="0" err="1">
                <a:solidFill>
                  <a:schemeClr val="accent6">
                    <a:lumMod val="10000"/>
                  </a:schemeClr>
                </a:solidFill>
                <a:effectLst/>
                <a:latin typeface="Univers" panose="020B0503020202020204" pitchFamily="34" charset="0"/>
                <a:ea typeface="맑은 고딕" panose="020B0503020000020004" pitchFamily="34" charset="-127"/>
              </a:rPr>
              <a:t>Sv</a:t>
            </a:r>
            <a:r>
              <a:rPr lang="it-IT" sz="1000" b="0" i="0" u="none" strike="noStrike" kern="1200" dirty="0">
                <a:solidFill>
                  <a:schemeClr val="accent6">
                    <a:lumMod val="10000"/>
                  </a:schemeClr>
                </a:solidFill>
                <a:effectLst/>
                <a:latin typeface="Univers" panose="020B0503020202020204" pitchFamily="34" charset="0"/>
                <a:ea typeface="맑은 고딕" panose="020B0503020000020004" pitchFamily="34" charset="-127"/>
              </a:rPr>
              <a:t>. Genova Est via A12 per Lavagna</a:t>
            </a:r>
            <a:endParaRPr lang="it-IT" sz="1000" b="0" i="0" u="none" strike="noStrike" dirty="0">
              <a:solidFill>
                <a:schemeClr val="accent6">
                  <a:lumMod val="10000"/>
                </a:schemeClr>
              </a:solidFill>
              <a:effectLst/>
              <a:latin typeface="Arial" panose="020B0604020202020204" pitchFamily="34" charset="0"/>
            </a:endParaRPr>
          </a:p>
        </p:txBody>
      </p:sp>
      <p:sp>
        <p:nvSpPr>
          <p:cNvPr id="81" name="CasellaDiTesto 80">
            <a:extLst>
              <a:ext uri="{FF2B5EF4-FFF2-40B4-BE49-F238E27FC236}">
                <a16:creationId xmlns:a16="http://schemas.microsoft.com/office/drawing/2014/main" id="{430C6EB7-9239-4B5A-AE67-E7D96958790C}"/>
              </a:ext>
            </a:extLst>
          </p:cNvPr>
          <p:cNvSpPr txBox="1"/>
          <p:nvPr/>
        </p:nvSpPr>
        <p:spPr>
          <a:xfrm>
            <a:off x="6210305" y="4215319"/>
            <a:ext cx="3934515" cy="553998"/>
          </a:xfrm>
          <a:prstGeom prst="rect">
            <a:avLst/>
          </a:prstGeom>
          <a:solidFill>
            <a:schemeClr val="bg1"/>
          </a:solidFill>
          <a:ln>
            <a:solidFill>
              <a:srgbClr val="003300"/>
            </a:solidFill>
          </a:ln>
        </p:spPr>
        <p:txBody>
          <a:bodyPr wrap="square" rtlCol="0">
            <a:spAutoFit/>
          </a:bodyPr>
          <a:lstStyle/>
          <a:p>
            <a:pPr marL="0" rtl="0" eaLnBrk="1" fontAlgn="ctr" latinLnBrk="0" hangingPunct="1">
              <a:spcBef>
                <a:spcPts val="0"/>
              </a:spcBef>
              <a:spcAft>
                <a:spcPts val="0"/>
              </a:spcAft>
            </a:pPr>
            <a:r>
              <a:rPr lang="it-IT" sz="1000" b="1" i="0" u="none" strike="noStrike" kern="1200" dirty="0">
                <a:solidFill>
                  <a:srgbClr val="008000"/>
                </a:solidFill>
                <a:effectLst/>
                <a:latin typeface="Univers" panose="020B0503020202020204" pitchFamily="34" charset="0"/>
                <a:ea typeface="맑은 고딕" panose="020B0503020000020004" pitchFamily="34" charset="-127"/>
              </a:rPr>
              <a:t>1c) </a:t>
            </a:r>
            <a:r>
              <a:rPr lang="it-IT" sz="1000" i="0" u="none" strike="noStrike" kern="1200" dirty="0">
                <a:solidFill>
                  <a:schemeClr val="accent6">
                    <a:lumMod val="10000"/>
                  </a:schemeClr>
                </a:solidFill>
                <a:effectLst/>
                <a:latin typeface="Univers" panose="020B0503020202020204" pitchFamily="34" charset="0"/>
                <a:ea typeface="맑은 고딕" panose="020B0503020000020004" pitchFamily="34" charset="-127"/>
              </a:rPr>
              <a:t>Moconesi – Rapallo via Tunnel</a:t>
            </a:r>
            <a:r>
              <a:rPr lang="it-IT" sz="1000" b="1" i="0" u="none" strike="noStrike" kern="1200" dirty="0">
                <a:solidFill>
                  <a:schemeClr val="accent6">
                    <a:lumMod val="10000"/>
                  </a:schemeClr>
                </a:solidFill>
                <a:effectLst/>
                <a:latin typeface="Univers" panose="020B0503020202020204" pitchFamily="34" charset="0"/>
                <a:ea typeface="맑은 고딕" panose="020B0503020000020004" pitchFamily="34" charset="-127"/>
              </a:rPr>
              <a:t> </a:t>
            </a:r>
          </a:p>
          <a:p>
            <a:pPr marL="0" rtl="0" eaLnBrk="1" fontAlgn="ctr" latinLnBrk="0" hangingPunct="1">
              <a:spcBef>
                <a:spcPts val="0"/>
              </a:spcBef>
              <a:spcAft>
                <a:spcPts val="0"/>
              </a:spcAft>
            </a:pPr>
            <a:r>
              <a:rPr lang="it-IT" sz="1000" b="1" i="0" u="none" strike="noStrike" kern="1200" dirty="0">
                <a:solidFill>
                  <a:srgbClr val="0070C0"/>
                </a:solidFill>
                <a:effectLst/>
                <a:latin typeface="Univers" panose="020B0503020202020204" pitchFamily="34" charset="0"/>
                <a:ea typeface="맑은 고딕" panose="020B0503020000020004" pitchFamily="34" charset="-127"/>
              </a:rPr>
              <a:t>2b)</a:t>
            </a:r>
            <a:r>
              <a:rPr lang="it-IT" sz="1000" b="0" i="0" u="none" strike="noStrike" kern="1200" dirty="0">
                <a:solidFill>
                  <a:srgbClr val="0070C0"/>
                </a:solidFill>
                <a:effectLst/>
                <a:latin typeface="Univers" panose="020B0503020202020204" pitchFamily="34" charset="0"/>
                <a:ea typeface="맑은 고딕" panose="020B0503020000020004" pitchFamily="34" charset="-127"/>
              </a:rPr>
              <a:t> </a:t>
            </a:r>
            <a:r>
              <a:rPr lang="it-IT" sz="1000" i="0" u="none" strike="noStrike" kern="1200" dirty="0">
                <a:solidFill>
                  <a:schemeClr val="accent6">
                    <a:lumMod val="10000"/>
                  </a:schemeClr>
                </a:solidFill>
                <a:effectLst/>
                <a:latin typeface="Univers" panose="020B0503020202020204" pitchFamily="34" charset="0"/>
                <a:ea typeface="맑은 고딕" panose="020B0503020000020004" pitchFamily="34" charset="-127"/>
              </a:rPr>
              <a:t>Moconesi – A12 </a:t>
            </a:r>
            <a:r>
              <a:rPr lang="it-IT" sz="1000" i="0" u="none" strike="noStrike" kern="1200" dirty="0" err="1">
                <a:solidFill>
                  <a:schemeClr val="accent6">
                    <a:lumMod val="10000"/>
                  </a:schemeClr>
                </a:solidFill>
                <a:effectLst/>
                <a:latin typeface="Univers" panose="020B0503020202020204" pitchFamily="34" charset="0"/>
                <a:ea typeface="맑은 고딕" panose="020B0503020000020004" pitchFamily="34" charset="-127"/>
              </a:rPr>
              <a:t>Sv</a:t>
            </a:r>
            <a:r>
              <a:rPr lang="it-IT" sz="1000" i="0" u="none" strike="noStrike" kern="1200" dirty="0">
                <a:solidFill>
                  <a:schemeClr val="accent6">
                    <a:lumMod val="10000"/>
                  </a:schemeClr>
                </a:solidFill>
                <a:effectLst/>
                <a:latin typeface="Univers" panose="020B0503020202020204" pitchFamily="34" charset="0"/>
                <a:ea typeface="맑은 고딕" panose="020B0503020000020004" pitchFamily="34" charset="-127"/>
              </a:rPr>
              <a:t>. Sestri Levante</a:t>
            </a:r>
            <a:r>
              <a:rPr lang="it-IT" sz="1000" dirty="0">
                <a:solidFill>
                  <a:schemeClr val="accent6">
                    <a:lumMod val="10000"/>
                  </a:schemeClr>
                </a:solidFill>
                <a:latin typeface="Arial" panose="020B0604020202020204" pitchFamily="34" charset="0"/>
              </a:rPr>
              <a:t> </a:t>
            </a:r>
            <a:r>
              <a:rPr lang="it-IT" sz="1000" b="0" i="0" u="none" strike="noStrike" kern="1200" dirty="0">
                <a:solidFill>
                  <a:schemeClr val="accent6">
                    <a:lumMod val="10000"/>
                  </a:schemeClr>
                </a:solidFill>
                <a:effectLst/>
                <a:latin typeface="Univers" panose="020B0503020202020204" pitchFamily="34" charset="0"/>
                <a:ea typeface="맑은 고딕" panose="020B0503020000020004" pitchFamily="34" charset="-127"/>
              </a:rPr>
              <a:t>via Tunnel</a:t>
            </a:r>
            <a:endParaRPr lang="it-IT" sz="1000" b="0" i="0" u="none" strike="noStrike" dirty="0">
              <a:solidFill>
                <a:schemeClr val="accent6">
                  <a:lumMod val="10000"/>
                </a:schemeClr>
              </a:solidFill>
              <a:effectLst/>
              <a:latin typeface="Arial" panose="020B0604020202020204" pitchFamily="34" charset="0"/>
            </a:endParaRPr>
          </a:p>
          <a:p>
            <a:pPr marL="0" marR="0" indent="0" rtl="0" eaLnBrk="1" fontAlgn="auto" latinLnBrk="0" hangingPunct="1">
              <a:spcBef>
                <a:spcPts val="0"/>
              </a:spcBef>
              <a:spcAft>
                <a:spcPts val="0"/>
              </a:spcAft>
            </a:pPr>
            <a:r>
              <a:rPr lang="it-IT" sz="1000" b="1" i="0" u="none" strike="noStrike" kern="1200" dirty="0">
                <a:solidFill>
                  <a:srgbClr val="C00000"/>
                </a:solidFill>
                <a:effectLst/>
                <a:latin typeface="Univers" panose="020B0503020202020204" pitchFamily="34" charset="0"/>
                <a:ea typeface="맑은 고딕" panose="020B0503020000020004" pitchFamily="34" charset="-127"/>
              </a:rPr>
              <a:t>3c)</a:t>
            </a:r>
            <a:r>
              <a:rPr lang="it-IT" sz="1000" b="0" i="0" u="none" strike="noStrike" kern="1200" dirty="0">
                <a:solidFill>
                  <a:srgbClr val="C00000"/>
                </a:solidFill>
                <a:effectLst/>
                <a:latin typeface="Univers" panose="020B0503020202020204" pitchFamily="34" charset="0"/>
                <a:ea typeface="맑은 고딕" panose="020B0503020000020004" pitchFamily="34" charset="-127"/>
              </a:rPr>
              <a:t> </a:t>
            </a:r>
            <a:r>
              <a:rPr lang="it-IT" sz="1000" b="0" i="0" u="none" strike="noStrike" kern="1200" dirty="0">
                <a:solidFill>
                  <a:schemeClr val="accent6">
                    <a:lumMod val="10000"/>
                  </a:schemeClr>
                </a:solidFill>
                <a:effectLst/>
                <a:latin typeface="Univers" panose="020B0503020202020204" pitchFamily="34" charset="0"/>
                <a:ea typeface="맑은 고딕" panose="020B0503020000020004" pitchFamily="34" charset="-127"/>
              </a:rPr>
              <a:t>Moconesi - A12 </a:t>
            </a:r>
            <a:r>
              <a:rPr lang="it-IT" sz="1000" b="0" i="0" u="none" strike="noStrike" kern="1200" dirty="0" err="1">
                <a:solidFill>
                  <a:schemeClr val="accent6">
                    <a:lumMod val="10000"/>
                  </a:schemeClr>
                </a:solidFill>
                <a:effectLst/>
                <a:latin typeface="Univers" panose="020B0503020202020204" pitchFamily="34" charset="0"/>
                <a:ea typeface="맑은 고딕" panose="020B0503020000020004" pitchFamily="34" charset="-127"/>
              </a:rPr>
              <a:t>Sv</a:t>
            </a:r>
            <a:r>
              <a:rPr lang="it-IT" sz="1000" b="0" i="0" u="none" strike="noStrike" kern="1200" dirty="0">
                <a:solidFill>
                  <a:schemeClr val="accent6">
                    <a:lumMod val="10000"/>
                  </a:schemeClr>
                </a:solidFill>
                <a:effectLst/>
                <a:latin typeface="Univers" panose="020B0503020202020204" pitchFamily="34" charset="0"/>
                <a:ea typeface="맑은 고딕" panose="020B0503020000020004" pitchFamily="34" charset="-127"/>
              </a:rPr>
              <a:t>. Genova Est via Tunnel</a:t>
            </a:r>
            <a:endParaRPr lang="it-IT" sz="1000" b="0" i="0" u="none" strike="noStrike" dirty="0">
              <a:solidFill>
                <a:schemeClr val="accent6">
                  <a:lumMod val="10000"/>
                </a:schemeClr>
              </a:solidFill>
              <a:effectLst/>
              <a:latin typeface="Arial" panose="020B0604020202020204" pitchFamily="34" charset="0"/>
            </a:endParaRPr>
          </a:p>
        </p:txBody>
      </p:sp>
      <p:sp>
        <p:nvSpPr>
          <p:cNvPr id="82" name="Segnaposto contenuto 2">
            <a:extLst>
              <a:ext uri="{FF2B5EF4-FFF2-40B4-BE49-F238E27FC236}">
                <a16:creationId xmlns:a16="http://schemas.microsoft.com/office/drawing/2014/main" id="{EE8BE237-8111-48F5-8515-0D283B3338CC}"/>
              </a:ext>
            </a:extLst>
          </p:cNvPr>
          <p:cNvSpPr txBox="1">
            <a:spLocks/>
          </p:cNvSpPr>
          <p:nvPr/>
        </p:nvSpPr>
        <p:spPr bwMode="auto">
          <a:xfrm>
            <a:off x="558575" y="1640807"/>
            <a:ext cx="5281249" cy="35601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60000"/>
              </a:lnSpc>
              <a:spcBef>
                <a:spcPts val="0"/>
              </a:spcBef>
              <a:spcAft>
                <a:spcPts val="1200"/>
              </a:spcAft>
              <a:buFont typeface="Arial" panose="020B0604020202020204" pitchFamily="34" charset="0"/>
              <a:buNone/>
            </a:pPr>
            <a:r>
              <a:rPr lang="it-IT" altLang="it-IT" sz="1400" dirty="0">
                <a:solidFill>
                  <a:schemeClr val="accent6">
                    <a:lumMod val="10000"/>
                  </a:schemeClr>
                </a:solidFill>
                <a:cs typeface="Arial" panose="020B0604020202020204" pitchFamily="34" charset="0"/>
              </a:rPr>
              <a:t>Tragitti viabilità esistente</a:t>
            </a:r>
          </a:p>
        </p:txBody>
      </p:sp>
      <p:sp>
        <p:nvSpPr>
          <p:cNvPr id="83" name="Segnaposto contenuto 2">
            <a:extLst>
              <a:ext uri="{FF2B5EF4-FFF2-40B4-BE49-F238E27FC236}">
                <a16:creationId xmlns:a16="http://schemas.microsoft.com/office/drawing/2014/main" id="{13AB89EB-CE36-46F6-9140-C07960980E20}"/>
              </a:ext>
            </a:extLst>
          </p:cNvPr>
          <p:cNvSpPr txBox="1">
            <a:spLocks/>
          </p:cNvSpPr>
          <p:nvPr/>
        </p:nvSpPr>
        <p:spPr bwMode="auto">
          <a:xfrm>
            <a:off x="6193948" y="1631033"/>
            <a:ext cx="5281249" cy="35601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60000"/>
              </a:lnSpc>
              <a:spcBef>
                <a:spcPts val="0"/>
              </a:spcBef>
              <a:spcAft>
                <a:spcPts val="1200"/>
              </a:spcAft>
              <a:buFont typeface="Arial" panose="020B0604020202020204" pitchFamily="34" charset="0"/>
              <a:buNone/>
            </a:pPr>
            <a:r>
              <a:rPr lang="it-IT" altLang="it-IT" sz="1400" dirty="0">
                <a:solidFill>
                  <a:schemeClr val="accent6">
                    <a:lumMod val="10000"/>
                  </a:schemeClr>
                </a:solidFill>
                <a:cs typeface="Arial" panose="020B0604020202020204" pitchFamily="34" charset="0"/>
              </a:rPr>
              <a:t>Tragitti nuova viabilità</a:t>
            </a:r>
          </a:p>
        </p:txBody>
      </p:sp>
      <p:sp>
        <p:nvSpPr>
          <p:cNvPr id="84" name="Segnaposto contenuto 2">
            <a:extLst>
              <a:ext uri="{FF2B5EF4-FFF2-40B4-BE49-F238E27FC236}">
                <a16:creationId xmlns:a16="http://schemas.microsoft.com/office/drawing/2014/main" id="{BF60EEA7-A71C-4027-843C-07AA88D5FE5E}"/>
              </a:ext>
            </a:extLst>
          </p:cNvPr>
          <p:cNvSpPr txBox="1">
            <a:spLocks/>
          </p:cNvSpPr>
          <p:nvPr/>
        </p:nvSpPr>
        <p:spPr>
          <a:xfrm>
            <a:off x="558575" y="4869797"/>
            <a:ext cx="11107124" cy="125136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just" defTabSz="732656">
              <a:lnSpc>
                <a:spcPct val="150000"/>
              </a:lnSpc>
              <a:spcAft>
                <a:spcPts val="77"/>
              </a:spcAft>
              <a:buClrTx/>
              <a:buSzTx/>
              <a:buNone/>
              <a:tabLst>
                <a:tab pos="65597" algn="l"/>
              </a:tabLst>
              <a:defRPr/>
            </a:pPr>
            <a:r>
              <a:rPr lang="it-IT" sz="1200" b="1" dirty="0">
                <a:solidFill>
                  <a:srgbClr val="000000"/>
                </a:solidFill>
              </a:rPr>
              <a:t>L’Analisi Costi Benefici </a:t>
            </a:r>
            <a:r>
              <a:rPr lang="it-IT" sz="1200" b="0" dirty="0">
                <a:solidFill>
                  <a:srgbClr val="000000"/>
                </a:solidFill>
              </a:rPr>
              <a:t>svolta dal Gruppo CLAS ha mostrato che </a:t>
            </a:r>
            <a:r>
              <a:rPr lang="it-IT" sz="1200" b="1" dirty="0">
                <a:solidFill>
                  <a:srgbClr val="000000"/>
                </a:solidFill>
              </a:rPr>
              <a:t>la realizzazione del Collegamento tra la Val Fontanabuona e l’A12 comporterebbe una notevole riduzione dei tempi di percorrenza </a:t>
            </a:r>
            <a:r>
              <a:rPr lang="it-IT" sz="1200" dirty="0">
                <a:solidFill>
                  <a:srgbClr val="000000"/>
                </a:solidFill>
              </a:rPr>
              <a:t>delle tratte tra la valle e la costa. Tralasciando la domanda di traffico indotta (generata dalla presenza della nuova infrastruttura), che si manifesterebbe nel medio termine, </a:t>
            </a:r>
            <a:r>
              <a:rPr lang="it-IT" sz="1200" b="1" dirty="0">
                <a:solidFill>
                  <a:srgbClr val="000000"/>
                </a:solidFill>
              </a:rPr>
              <a:t>nel breve termine ci si attende un risparmio di tempo complessivamente pari a 1.275.735 ore in un anno</a:t>
            </a:r>
            <a:r>
              <a:rPr lang="it-IT" sz="1200" dirty="0">
                <a:solidFill>
                  <a:srgbClr val="000000"/>
                </a:solidFill>
              </a:rPr>
              <a:t> per </a:t>
            </a:r>
            <a:r>
              <a:rPr lang="it-IT" sz="1200" b="1" dirty="0">
                <a:solidFill>
                  <a:srgbClr val="000000"/>
                </a:solidFill>
              </a:rPr>
              <a:t>la popolazione che attualmente si sposta lungo l’asse valle-costa, </a:t>
            </a:r>
            <a:r>
              <a:rPr lang="it-IT" sz="1200" b="0" dirty="0">
                <a:solidFill>
                  <a:srgbClr val="000000"/>
                </a:solidFill>
              </a:rPr>
              <a:t>con conseguenti benefici ambientali (qualità dell’aria, inquinamento acustico, impatto sul clima, etc.).</a:t>
            </a:r>
          </a:p>
        </p:txBody>
      </p:sp>
    </p:spTree>
    <p:extLst>
      <p:ext uri="{BB962C8B-B14F-4D97-AF65-F5344CB8AC3E}">
        <p14:creationId xmlns:p14="http://schemas.microsoft.com/office/powerpoint/2010/main" val="35826879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uppo 8">
            <a:extLst>
              <a:ext uri="{FF2B5EF4-FFF2-40B4-BE49-F238E27FC236}">
                <a16:creationId xmlns:a16="http://schemas.microsoft.com/office/drawing/2014/main" id="{E86884DD-14A5-4CBC-AC1F-D239FC625F93}"/>
              </a:ext>
            </a:extLst>
          </p:cNvPr>
          <p:cNvGrpSpPr/>
          <p:nvPr/>
        </p:nvGrpSpPr>
        <p:grpSpPr>
          <a:xfrm>
            <a:off x="6269943" y="1663040"/>
            <a:ext cx="5281248" cy="2610432"/>
            <a:chOff x="6269943" y="1963416"/>
            <a:chExt cx="5281248" cy="2610432"/>
          </a:xfrm>
        </p:grpSpPr>
        <p:grpSp>
          <p:nvGrpSpPr>
            <p:cNvPr id="25" name="Gruppo 26">
              <a:extLst>
                <a:ext uri="{FF2B5EF4-FFF2-40B4-BE49-F238E27FC236}">
                  <a16:creationId xmlns:a16="http://schemas.microsoft.com/office/drawing/2014/main" id="{1C73E207-2760-4741-94CE-9E5D257823F2}"/>
                </a:ext>
              </a:extLst>
            </p:cNvPr>
            <p:cNvGrpSpPr>
              <a:grpSpLocks/>
            </p:cNvGrpSpPr>
            <p:nvPr/>
          </p:nvGrpSpPr>
          <p:grpSpPr bwMode="auto">
            <a:xfrm>
              <a:off x="6269943" y="1963416"/>
              <a:ext cx="5281248" cy="2610432"/>
              <a:chOff x="592137" y="946663"/>
              <a:chExt cx="7826083" cy="4760923"/>
            </a:xfrm>
          </p:grpSpPr>
          <p:pic>
            <p:nvPicPr>
              <p:cNvPr id="28" name="Picture 1">
                <a:extLst>
                  <a:ext uri="{FF2B5EF4-FFF2-40B4-BE49-F238E27FC236}">
                    <a16:creationId xmlns:a16="http://schemas.microsoft.com/office/drawing/2014/main" id="{27E008C8-7C11-46DA-98BD-666ADF62E0F4}"/>
                  </a:ext>
                </a:extLst>
              </p:cNvPr>
              <p:cNvPicPr>
                <a:picLocks noChangeAspect="1" noChangeArrowheads="1"/>
              </p:cNvPicPr>
              <p:nvPr/>
            </p:nvPicPr>
            <p:blipFill rotWithShape="1">
              <a:blip r:embed="rId3">
                <a:lum bright="10000"/>
                <a:grayscl/>
                <a:extLst>
                  <a:ext uri="{28A0092B-C50C-407E-A947-70E740481C1C}">
                    <a14:useLocalDpi xmlns:a14="http://schemas.microsoft.com/office/drawing/2010/main" val="0"/>
                  </a:ext>
                </a:extLst>
              </a:blip>
              <a:srcRect t="29964" r="1679" b="2874"/>
              <a:stretch/>
            </p:blipFill>
            <p:spPr bwMode="auto">
              <a:xfrm>
                <a:off x="592137" y="946663"/>
                <a:ext cx="7826083" cy="476092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9" name="Figura a mano libera 18">
                <a:extLst>
                  <a:ext uri="{FF2B5EF4-FFF2-40B4-BE49-F238E27FC236}">
                    <a16:creationId xmlns:a16="http://schemas.microsoft.com/office/drawing/2014/main" id="{FCF02B8E-E1EF-4CC4-9456-330D006EB57C}"/>
                  </a:ext>
                </a:extLst>
              </p:cNvPr>
              <p:cNvSpPr/>
              <p:nvPr/>
            </p:nvSpPr>
            <p:spPr>
              <a:xfrm>
                <a:off x="1268838" y="1866613"/>
                <a:ext cx="6577754" cy="3201154"/>
              </a:xfrm>
              <a:custGeom>
                <a:avLst/>
                <a:gdLst>
                  <a:gd name="connsiteX0" fmla="*/ 6648450 w 6648450"/>
                  <a:gd name="connsiteY0" fmla="*/ 3200400 h 3200400"/>
                  <a:gd name="connsiteX1" fmla="*/ 5886450 w 6648450"/>
                  <a:gd name="connsiteY1" fmla="*/ 2457450 h 3200400"/>
                  <a:gd name="connsiteX2" fmla="*/ 5048250 w 6648450"/>
                  <a:gd name="connsiteY2" fmla="*/ 2095500 h 3200400"/>
                  <a:gd name="connsiteX3" fmla="*/ 3933825 w 6648450"/>
                  <a:gd name="connsiteY3" fmla="*/ 1504950 h 3200400"/>
                  <a:gd name="connsiteX4" fmla="*/ 3200400 w 6648450"/>
                  <a:gd name="connsiteY4" fmla="*/ 1333500 h 3200400"/>
                  <a:gd name="connsiteX5" fmla="*/ 2400300 w 6648450"/>
                  <a:gd name="connsiteY5" fmla="*/ 981075 h 3200400"/>
                  <a:gd name="connsiteX6" fmla="*/ 1304925 w 6648450"/>
                  <a:gd name="connsiteY6" fmla="*/ 781050 h 3200400"/>
                  <a:gd name="connsiteX7" fmla="*/ 895350 w 6648450"/>
                  <a:gd name="connsiteY7" fmla="*/ 742950 h 3200400"/>
                  <a:gd name="connsiteX8" fmla="*/ 381000 w 6648450"/>
                  <a:gd name="connsiteY8" fmla="*/ 390525 h 3200400"/>
                  <a:gd name="connsiteX9" fmla="*/ 0 w 6648450"/>
                  <a:gd name="connsiteY9" fmla="*/ 0 h 320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48450" h="3200400">
                    <a:moveTo>
                      <a:pt x="6648450" y="3200400"/>
                    </a:moveTo>
                    <a:cubicBezTo>
                      <a:pt x="6400800" y="2921000"/>
                      <a:pt x="6153150" y="2641600"/>
                      <a:pt x="5886450" y="2457450"/>
                    </a:cubicBezTo>
                    <a:cubicBezTo>
                      <a:pt x="5619750" y="2273300"/>
                      <a:pt x="5373687" y="2254250"/>
                      <a:pt x="5048250" y="2095500"/>
                    </a:cubicBezTo>
                    <a:cubicBezTo>
                      <a:pt x="4722813" y="1936750"/>
                      <a:pt x="4241800" y="1631950"/>
                      <a:pt x="3933825" y="1504950"/>
                    </a:cubicBezTo>
                    <a:cubicBezTo>
                      <a:pt x="3625850" y="1377950"/>
                      <a:pt x="3455987" y="1420812"/>
                      <a:pt x="3200400" y="1333500"/>
                    </a:cubicBezTo>
                    <a:cubicBezTo>
                      <a:pt x="2944813" y="1246188"/>
                      <a:pt x="2716213" y="1073150"/>
                      <a:pt x="2400300" y="981075"/>
                    </a:cubicBezTo>
                    <a:cubicBezTo>
                      <a:pt x="2084388" y="889000"/>
                      <a:pt x="1555750" y="820737"/>
                      <a:pt x="1304925" y="781050"/>
                    </a:cubicBezTo>
                    <a:cubicBezTo>
                      <a:pt x="1054100" y="741363"/>
                      <a:pt x="1049337" y="808037"/>
                      <a:pt x="895350" y="742950"/>
                    </a:cubicBezTo>
                    <a:cubicBezTo>
                      <a:pt x="741363" y="677863"/>
                      <a:pt x="530225" y="514350"/>
                      <a:pt x="381000" y="390525"/>
                    </a:cubicBezTo>
                    <a:cubicBezTo>
                      <a:pt x="231775" y="266700"/>
                      <a:pt x="115887" y="133350"/>
                      <a:pt x="0" y="0"/>
                    </a:cubicBezTo>
                  </a:path>
                </a:pathLst>
              </a:custGeom>
              <a:ln w="38100">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txBody>
              <a:bodyPr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eaLnBrk="1" hangingPunct="1">
                  <a:defRPr/>
                </a:pPr>
                <a:endParaRPr lang="it-IT"/>
              </a:p>
            </p:txBody>
          </p:sp>
          <p:sp>
            <p:nvSpPr>
              <p:cNvPr id="30" name="Figura a mano libera 19">
                <a:extLst>
                  <a:ext uri="{FF2B5EF4-FFF2-40B4-BE49-F238E27FC236}">
                    <a16:creationId xmlns:a16="http://schemas.microsoft.com/office/drawing/2014/main" id="{06D43244-120D-45E4-AF58-558C64159595}"/>
                  </a:ext>
                </a:extLst>
              </p:cNvPr>
              <p:cNvSpPr/>
              <p:nvPr/>
            </p:nvSpPr>
            <p:spPr>
              <a:xfrm>
                <a:off x="4720010" y="2219656"/>
                <a:ext cx="613693" cy="1323912"/>
              </a:xfrm>
              <a:custGeom>
                <a:avLst/>
                <a:gdLst>
                  <a:gd name="connsiteX0" fmla="*/ 309563 w 771526"/>
                  <a:gd name="connsiteY0" fmla="*/ 0 h 1323975"/>
                  <a:gd name="connsiteX1" fmla="*/ 242888 w 771526"/>
                  <a:gd name="connsiteY1" fmla="*/ 457200 h 1323975"/>
                  <a:gd name="connsiteX2" fmla="*/ 128588 w 771526"/>
                  <a:gd name="connsiteY2" fmla="*/ 762000 h 1323975"/>
                  <a:gd name="connsiteX3" fmla="*/ 90488 w 771526"/>
                  <a:gd name="connsiteY3" fmla="*/ 952500 h 1323975"/>
                  <a:gd name="connsiteX4" fmla="*/ 671513 w 771526"/>
                  <a:gd name="connsiteY4" fmla="*/ 1123950 h 1323975"/>
                  <a:gd name="connsiteX5" fmla="*/ 690563 w 771526"/>
                  <a:gd name="connsiteY5" fmla="*/ 1323975 h 1323975"/>
                  <a:gd name="connsiteX0" fmla="*/ 254567 w 679025"/>
                  <a:gd name="connsiteY0" fmla="*/ 0 h 1323975"/>
                  <a:gd name="connsiteX1" fmla="*/ 154605 w 679025"/>
                  <a:gd name="connsiteY1" fmla="*/ 449066 h 1323975"/>
                  <a:gd name="connsiteX2" fmla="*/ 73592 w 679025"/>
                  <a:gd name="connsiteY2" fmla="*/ 762000 h 1323975"/>
                  <a:gd name="connsiteX3" fmla="*/ 35492 w 679025"/>
                  <a:gd name="connsiteY3" fmla="*/ 952500 h 1323975"/>
                  <a:gd name="connsiteX4" fmla="*/ 616517 w 679025"/>
                  <a:gd name="connsiteY4" fmla="*/ 1123950 h 1323975"/>
                  <a:gd name="connsiteX5" fmla="*/ 635567 w 679025"/>
                  <a:gd name="connsiteY5" fmla="*/ 1323975 h 1323975"/>
                  <a:gd name="connsiteX0" fmla="*/ 255360 w 679819"/>
                  <a:gd name="connsiteY0" fmla="*/ 0 h 1323975"/>
                  <a:gd name="connsiteX1" fmla="*/ 182028 w 679819"/>
                  <a:gd name="connsiteY1" fmla="*/ 457203 h 1323975"/>
                  <a:gd name="connsiteX2" fmla="*/ 74385 w 679819"/>
                  <a:gd name="connsiteY2" fmla="*/ 762000 h 1323975"/>
                  <a:gd name="connsiteX3" fmla="*/ 36285 w 679819"/>
                  <a:gd name="connsiteY3" fmla="*/ 952500 h 1323975"/>
                  <a:gd name="connsiteX4" fmla="*/ 617310 w 679819"/>
                  <a:gd name="connsiteY4" fmla="*/ 1123950 h 1323975"/>
                  <a:gd name="connsiteX5" fmla="*/ 636360 w 679819"/>
                  <a:gd name="connsiteY5" fmla="*/ 1323975 h 1323975"/>
                  <a:gd name="connsiteX0" fmla="*/ 255360 w 679819"/>
                  <a:gd name="connsiteY0" fmla="*/ 0 h 1323975"/>
                  <a:gd name="connsiteX1" fmla="*/ 182028 w 679819"/>
                  <a:gd name="connsiteY1" fmla="*/ 457203 h 1323975"/>
                  <a:gd name="connsiteX2" fmla="*/ 74385 w 679819"/>
                  <a:gd name="connsiteY2" fmla="*/ 762000 h 1323975"/>
                  <a:gd name="connsiteX3" fmla="*/ 36285 w 679819"/>
                  <a:gd name="connsiteY3" fmla="*/ 952500 h 1323975"/>
                  <a:gd name="connsiteX4" fmla="*/ 617310 w 679819"/>
                  <a:gd name="connsiteY4" fmla="*/ 1123950 h 1323975"/>
                  <a:gd name="connsiteX5" fmla="*/ 636360 w 679819"/>
                  <a:gd name="connsiteY5" fmla="*/ 1323975 h 1323975"/>
                  <a:gd name="connsiteX0" fmla="*/ 251779 w 655484"/>
                  <a:gd name="connsiteY0" fmla="*/ 0 h 1323975"/>
                  <a:gd name="connsiteX1" fmla="*/ 178447 w 655484"/>
                  <a:gd name="connsiteY1" fmla="*/ 457203 h 1323975"/>
                  <a:gd name="connsiteX2" fmla="*/ 70804 w 655484"/>
                  <a:gd name="connsiteY2" fmla="*/ 762000 h 1323975"/>
                  <a:gd name="connsiteX3" fmla="*/ 32704 w 655484"/>
                  <a:gd name="connsiteY3" fmla="*/ 952500 h 1323975"/>
                  <a:gd name="connsiteX4" fmla="*/ 564792 w 655484"/>
                  <a:gd name="connsiteY4" fmla="*/ 1143884 h 1323975"/>
                  <a:gd name="connsiteX5" fmla="*/ 632779 w 655484"/>
                  <a:gd name="connsiteY5" fmla="*/ 1323975 h 1323975"/>
                  <a:gd name="connsiteX0" fmla="*/ 214167 w 617872"/>
                  <a:gd name="connsiteY0" fmla="*/ 0 h 1323975"/>
                  <a:gd name="connsiteX1" fmla="*/ 140835 w 617872"/>
                  <a:gd name="connsiteY1" fmla="*/ 457203 h 1323975"/>
                  <a:gd name="connsiteX2" fmla="*/ 33192 w 617872"/>
                  <a:gd name="connsiteY2" fmla="*/ 762000 h 1323975"/>
                  <a:gd name="connsiteX3" fmla="*/ 44032 w 617872"/>
                  <a:gd name="connsiteY3" fmla="*/ 972436 h 1323975"/>
                  <a:gd name="connsiteX4" fmla="*/ 527180 w 617872"/>
                  <a:gd name="connsiteY4" fmla="*/ 1143884 h 1323975"/>
                  <a:gd name="connsiteX5" fmla="*/ 595167 w 617872"/>
                  <a:gd name="connsiteY5" fmla="*/ 1323975 h 1323975"/>
                  <a:gd name="connsiteX0" fmla="*/ 213904 w 617609"/>
                  <a:gd name="connsiteY0" fmla="*/ 0 h 1323975"/>
                  <a:gd name="connsiteX1" fmla="*/ 135135 w 617609"/>
                  <a:gd name="connsiteY1" fmla="*/ 410691 h 1323975"/>
                  <a:gd name="connsiteX2" fmla="*/ 32929 w 617609"/>
                  <a:gd name="connsiteY2" fmla="*/ 762000 h 1323975"/>
                  <a:gd name="connsiteX3" fmla="*/ 43769 w 617609"/>
                  <a:gd name="connsiteY3" fmla="*/ 972436 h 1323975"/>
                  <a:gd name="connsiteX4" fmla="*/ 526917 w 617609"/>
                  <a:gd name="connsiteY4" fmla="*/ 1143884 h 1323975"/>
                  <a:gd name="connsiteX5" fmla="*/ 594904 w 617609"/>
                  <a:gd name="connsiteY5" fmla="*/ 1323975 h 1323975"/>
                  <a:gd name="connsiteX0" fmla="*/ 213904 w 617609"/>
                  <a:gd name="connsiteY0" fmla="*/ 0 h 1323975"/>
                  <a:gd name="connsiteX1" fmla="*/ 135135 w 617609"/>
                  <a:gd name="connsiteY1" fmla="*/ 410691 h 1323975"/>
                  <a:gd name="connsiteX2" fmla="*/ 32929 w 617609"/>
                  <a:gd name="connsiteY2" fmla="*/ 762000 h 1323975"/>
                  <a:gd name="connsiteX3" fmla="*/ 43769 w 617609"/>
                  <a:gd name="connsiteY3" fmla="*/ 972436 h 1323975"/>
                  <a:gd name="connsiteX4" fmla="*/ 526917 w 617609"/>
                  <a:gd name="connsiteY4" fmla="*/ 1143884 h 1323975"/>
                  <a:gd name="connsiteX5" fmla="*/ 594904 w 617609"/>
                  <a:gd name="connsiteY5" fmla="*/ 1323975 h 1323975"/>
                  <a:gd name="connsiteX0" fmla="*/ 215238 w 618943"/>
                  <a:gd name="connsiteY0" fmla="*/ 0 h 1323975"/>
                  <a:gd name="connsiteX1" fmla="*/ 163657 w 618943"/>
                  <a:gd name="connsiteY1" fmla="*/ 417336 h 1323975"/>
                  <a:gd name="connsiteX2" fmla="*/ 34263 w 618943"/>
                  <a:gd name="connsiteY2" fmla="*/ 762000 h 1323975"/>
                  <a:gd name="connsiteX3" fmla="*/ 45103 w 618943"/>
                  <a:gd name="connsiteY3" fmla="*/ 972436 h 1323975"/>
                  <a:gd name="connsiteX4" fmla="*/ 528251 w 618943"/>
                  <a:gd name="connsiteY4" fmla="*/ 1143884 h 1323975"/>
                  <a:gd name="connsiteX5" fmla="*/ 596238 w 618943"/>
                  <a:gd name="connsiteY5" fmla="*/ 1323975 h 1323975"/>
                  <a:gd name="connsiteX0" fmla="*/ 215238 w 618943"/>
                  <a:gd name="connsiteY0" fmla="*/ 0 h 1323975"/>
                  <a:gd name="connsiteX1" fmla="*/ 163657 w 618943"/>
                  <a:gd name="connsiteY1" fmla="*/ 417336 h 1323975"/>
                  <a:gd name="connsiteX2" fmla="*/ 34263 w 618943"/>
                  <a:gd name="connsiteY2" fmla="*/ 762000 h 1323975"/>
                  <a:gd name="connsiteX3" fmla="*/ 45103 w 618943"/>
                  <a:gd name="connsiteY3" fmla="*/ 972436 h 1323975"/>
                  <a:gd name="connsiteX4" fmla="*/ 528251 w 618943"/>
                  <a:gd name="connsiteY4" fmla="*/ 1143884 h 1323975"/>
                  <a:gd name="connsiteX5" fmla="*/ 596238 w 618943"/>
                  <a:gd name="connsiteY5" fmla="*/ 1323975 h 1323975"/>
                  <a:gd name="connsiteX0" fmla="*/ 214432 w 618137"/>
                  <a:gd name="connsiteY0" fmla="*/ 0 h 1323975"/>
                  <a:gd name="connsiteX1" fmla="*/ 146538 w 618137"/>
                  <a:gd name="connsiteY1" fmla="*/ 417336 h 1323975"/>
                  <a:gd name="connsiteX2" fmla="*/ 33457 w 618137"/>
                  <a:gd name="connsiteY2" fmla="*/ 762000 h 1323975"/>
                  <a:gd name="connsiteX3" fmla="*/ 44297 w 618137"/>
                  <a:gd name="connsiteY3" fmla="*/ 972436 h 1323975"/>
                  <a:gd name="connsiteX4" fmla="*/ 527445 w 618137"/>
                  <a:gd name="connsiteY4" fmla="*/ 1143884 h 1323975"/>
                  <a:gd name="connsiteX5" fmla="*/ 595432 w 618137"/>
                  <a:gd name="connsiteY5" fmla="*/ 1323975 h 1323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8137" h="1323975">
                    <a:moveTo>
                      <a:pt x="214432" y="0"/>
                    </a:moveTo>
                    <a:cubicBezTo>
                      <a:pt x="196175" y="165100"/>
                      <a:pt x="193013" y="290335"/>
                      <a:pt x="146538" y="417336"/>
                    </a:cubicBezTo>
                    <a:cubicBezTo>
                      <a:pt x="100063" y="544337"/>
                      <a:pt x="50497" y="669483"/>
                      <a:pt x="33457" y="762000"/>
                    </a:cubicBezTo>
                    <a:cubicBezTo>
                      <a:pt x="16417" y="854517"/>
                      <a:pt x="-38034" y="908789"/>
                      <a:pt x="44297" y="972436"/>
                    </a:cubicBezTo>
                    <a:cubicBezTo>
                      <a:pt x="126628" y="1036083"/>
                      <a:pt x="427432" y="1081971"/>
                      <a:pt x="527445" y="1143884"/>
                    </a:cubicBezTo>
                    <a:cubicBezTo>
                      <a:pt x="627458" y="1205797"/>
                      <a:pt x="635913" y="1254919"/>
                      <a:pt x="595432" y="1323975"/>
                    </a:cubicBezTo>
                  </a:path>
                </a:pathLst>
              </a:custGeom>
              <a:ln w="38100">
                <a:solidFill>
                  <a:srgbClr val="008000"/>
                </a:solidFill>
              </a:ln>
            </p:spPr>
            <p:style>
              <a:lnRef idx="1">
                <a:schemeClr val="accent1"/>
              </a:lnRef>
              <a:fillRef idx="0">
                <a:schemeClr val="accent1"/>
              </a:fillRef>
              <a:effectRef idx="0">
                <a:schemeClr val="accent1"/>
              </a:effectRef>
              <a:fontRef idx="minor">
                <a:schemeClr val="tx1"/>
              </a:fontRef>
            </p:style>
            <p:txBody>
              <a:bodyPr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eaLnBrk="1" hangingPunct="1">
                  <a:defRPr/>
                </a:pPr>
                <a:endParaRPr lang="it-IT" dirty="0"/>
              </a:p>
            </p:txBody>
          </p:sp>
          <p:sp>
            <p:nvSpPr>
              <p:cNvPr id="31" name="Figura a mano libera 24">
                <a:extLst>
                  <a:ext uri="{FF2B5EF4-FFF2-40B4-BE49-F238E27FC236}">
                    <a16:creationId xmlns:a16="http://schemas.microsoft.com/office/drawing/2014/main" id="{14D3A8C8-23D4-4415-B88D-84B9E13CF4A2}"/>
                  </a:ext>
                </a:extLst>
              </p:cNvPr>
              <p:cNvSpPr/>
              <p:nvPr/>
            </p:nvSpPr>
            <p:spPr>
              <a:xfrm>
                <a:off x="4790793" y="2228142"/>
                <a:ext cx="3084363" cy="2753060"/>
              </a:xfrm>
              <a:custGeom>
                <a:avLst/>
                <a:gdLst>
                  <a:gd name="connsiteX0" fmla="*/ 273050 w 3206750"/>
                  <a:gd name="connsiteY0" fmla="*/ 0 h 2752725"/>
                  <a:gd name="connsiteX1" fmla="*/ 187325 w 3206750"/>
                  <a:gd name="connsiteY1" fmla="*/ 561975 h 2752725"/>
                  <a:gd name="connsiteX2" fmla="*/ 73025 w 3206750"/>
                  <a:gd name="connsiteY2" fmla="*/ 857250 h 2752725"/>
                  <a:gd name="connsiteX3" fmla="*/ 625475 w 3206750"/>
                  <a:gd name="connsiteY3" fmla="*/ 1057275 h 2752725"/>
                  <a:gd name="connsiteX4" fmla="*/ 873125 w 3206750"/>
                  <a:gd name="connsiteY4" fmla="*/ 1266825 h 2752725"/>
                  <a:gd name="connsiteX5" fmla="*/ 1577975 w 3206750"/>
                  <a:gd name="connsiteY5" fmla="*/ 1638300 h 2752725"/>
                  <a:gd name="connsiteX6" fmla="*/ 2349500 w 3206750"/>
                  <a:gd name="connsiteY6" fmla="*/ 1933575 h 2752725"/>
                  <a:gd name="connsiteX7" fmla="*/ 3206750 w 3206750"/>
                  <a:gd name="connsiteY7" fmla="*/ 2752725 h 2752725"/>
                  <a:gd name="connsiteX0" fmla="*/ 219453 w 3153153"/>
                  <a:gd name="connsiteY0" fmla="*/ 0 h 2752725"/>
                  <a:gd name="connsiteX1" fmla="*/ 133728 w 3153153"/>
                  <a:gd name="connsiteY1" fmla="*/ 561975 h 2752725"/>
                  <a:gd name="connsiteX2" fmla="*/ 19427 w 3153153"/>
                  <a:gd name="connsiteY2" fmla="*/ 897922 h 2752725"/>
                  <a:gd name="connsiteX3" fmla="*/ 571878 w 3153153"/>
                  <a:gd name="connsiteY3" fmla="*/ 1057275 h 2752725"/>
                  <a:gd name="connsiteX4" fmla="*/ 819528 w 3153153"/>
                  <a:gd name="connsiteY4" fmla="*/ 1266825 h 2752725"/>
                  <a:gd name="connsiteX5" fmla="*/ 1524378 w 3153153"/>
                  <a:gd name="connsiteY5" fmla="*/ 1638300 h 2752725"/>
                  <a:gd name="connsiteX6" fmla="*/ 2295903 w 3153153"/>
                  <a:gd name="connsiteY6" fmla="*/ 1933575 h 2752725"/>
                  <a:gd name="connsiteX7" fmla="*/ 3153153 w 3153153"/>
                  <a:gd name="connsiteY7" fmla="*/ 2752725 h 2752725"/>
                  <a:gd name="connsiteX0" fmla="*/ 222847 w 3156547"/>
                  <a:gd name="connsiteY0" fmla="*/ 0 h 2752725"/>
                  <a:gd name="connsiteX1" fmla="*/ 116890 w 3156547"/>
                  <a:gd name="connsiteY1" fmla="*/ 553841 h 2752725"/>
                  <a:gd name="connsiteX2" fmla="*/ 22821 w 3156547"/>
                  <a:gd name="connsiteY2" fmla="*/ 897922 h 2752725"/>
                  <a:gd name="connsiteX3" fmla="*/ 575272 w 3156547"/>
                  <a:gd name="connsiteY3" fmla="*/ 1057275 h 2752725"/>
                  <a:gd name="connsiteX4" fmla="*/ 822922 w 3156547"/>
                  <a:gd name="connsiteY4" fmla="*/ 1266825 h 2752725"/>
                  <a:gd name="connsiteX5" fmla="*/ 1527772 w 3156547"/>
                  <a:gd name="connsiteY5" fmla="*/ 1638300 h 2752725"/>
                  <a:gd name="connsiteX6" fmla="*/ 2299297 w 3156547"/>
                  <a:gd name="connsiteY6" fmla="*/ 1933575 h 2752725"/>
                  <a:gd name="connsiteX7" fmla="*/ 3156547 w 3156547"/>
                  <a:gd name="connsiteY7" fmla="*/ 2752725 h 2752725"/>
                  <a:gd name="connsiteX0" fmla="*/ 193007 w 3126707"/>
                  <a:gd name="connsiteY0" fmla="*/ 0 h 2752725"/>
                  <a:gd name="connsiteX1" fmla="*/ 87050 w 3126707"/>
                  <a:gd name="connsiteY1" fmla="*/ 553841 h 2752725"/>
                  <a:gd name="connsiteX2" fmla="*/ 26699 w 3126707"/>
                  <a:gd name="connsiteY2" fmla="*/ 922324 h 2752725"/>
                  <a:gd name="connsiteX3" fmla="*/ 545432 w 3126707"/>
                  <a:gd name="connsiteY3" fmla="*/ 1057275 h 2752725"/>
                  <a:gd name="connsiteX4" fmla="*/ 793082 w 3126707"/>
                  <a:gd name="connsiteY4" fmla="*/ 1266825 h 2752725"/>
                  <a:gd name="connsiteX5" fmla="*/ 1497932 w 3126707"/>
                  <a:gd name="connsiteY5" fmla="*/ 1638300 h 2752725"/>
                  <a:gd name="connsiteX6" fmla="*/ 2269457 w 3126707"/>
                  <a:gd name="connsiteY6" fmla="*/ 1933575 h 2752725"/>
                  <a:gd name="connsiteX7" fmla="*/ 3126707 w 3126707"/>
                  <a:gd name="connsiteY7" fmla="*/ 2752725 h 2752725"/>
                  <a:gd name="connsiteX0" fmla="*/ 201630 w 3135330"/>
                  <a:gd name="connsiteY0" fmla="*/ 0 h 2752725"/>
                  <a:gd name="connsiteX1" fmla="*/ 95673 w 3135330"/>
                  <a:gd name="connsiteY1" fmla="*/ 553841 h 2752725"/>
                  <a:gd name="connsiteX2" fmla="*/ 35322 w 3135330"/>
                  <a:gd name="connsiteY2" fmla="*/ 922324 h 2752725"/>
                  <a:gd name="connsiteX3" fmla="*/ 554055 w 3135330"/>
                  <a:gd name="connsiteY3" fmla="*/ 1057275 h 2752725"/>
                  <a:gd name="connsiteX4" fmla="*/ 801705 w 3135330"/>
                  <a:gd name="connsiteY4" fmla="*/ 1266825 h 2752725"/>
                  <a:gd name="connsiteX5" fmla="*/ 1506555 w 3135330"/>
                  <a:gd name="connsiteY5" fmla="*/ 1638300 h 2752725"/>
                  <a:gd name="connsiteX6" fmla="*/ 2278080 w 3135330"/>
                  <a:gd name="connsiteY6" fmla="*/ 1933575 h 2752725"/>
                  <a:gd name="connsiteX7" fmla="*/ 3135330 w 3135330"/>
                  <a:gd name="connsiteY7" fmla="*/ 2752725 h 2752725"/>
                  <a:gd name="connsiteX0" fmla="*/ 207441 w 3141141"/>
                  <a:gd name="connsiteY0" fmla="*/ 0 h 2752725"/>
                  <a:gd name="connsiteX1" fmla="*/ 101484 w 3141141"/>
                  <a:gd name="connsiteY1" fmla="*/ 553841 h 2752725"/>
                  <a:gd name="connsiteX2" fmla="*/ 41133 w 3141141"/>
                  <a:gd name="connsiteY2" fmla="*/ 922324 h 2752725"/>
                  <a:gd name="connsiteX3" fmla="*/ 559866 w 3141141"/>
                  <a:gd name="connsiteY3" fmla="*/ 1057275 h 2752725"/>
                  <a:gd name="connsiteX4" fmla="*/ 807516 w 3141141"/>
                  <a:gd name="connsiteY4" fmla="*/ 1266825 h 2752725"/>
                  <a:gd name="connsiteX5" fmla="*/ 1512366 w 3141141"/>
                  <a:gd name="connsiteY5" fmla="*/ 1638300 h 2752725"/>
                  <a:gd name="connsiteX6" fmla="*/ 2283891 w 3141141"/>
                  <a:gd name="connsiteY6" fmla="*/ 1933575 h 2752725"/>
                  <a:gd name="connsiteX7" fmla="*/ 3141141 w 3141141"/>
                  <a:gd name="connsiteY7" fmla="*/ 2752725 h 2752725"/>
                  <a:gd name="connsiteX0" fmla="*/ 213286 w 3146986"/>
                  <a:gd name="connsiteY0" fmla="*/ 0 h 2752725"/>
                  <a:gd name="connsiteX1" fmla="*/ 107329 w 3146986"/>
                  <a:gd name="connsiteY1" fmla="*/ 553841 h 2752725"/>
                  <a:gd name="connsiteX2" fmla="*/ 46978 w 3146986"/>
                  <a:gd name="connsiteY2" fmla="*/ 922324 h 2752725"/>
                  <a:gd name="connsiteX3" fmla="*/ 565711 w 3146986"/>
                  <a:gd name="connsiteY3" fmla="*/ 1057275 h 2752725"/>
                  <a:gd name="connsiteX4" fmla="*/ 813361 w 3146986"/>
                  <a:gd name="connsiteY4" fmla="*/ 1266825 h 2752725"/>
                  <a:gd name="connsiteX5" fmla="*/ 1518211 w 3146986"/>
                  <a:gd name="connsiteY5" fmla="*/ 1638300 h 2752725"/>
                  <a:gd name="connsiteX6" fmla="*/ 2289736 w 3146986"/>
                  <a:gd name="connsiteY6" fmla="*/ 1933575 h 2752725"/>
                  <a:gd name="connsiteX7" fmla="*/ 3146986 w 3146986"/>
                  <a:gd name="connsiteY7" fmla="*/ 2752725 h 2752725"/>
                  <a:gd name="connsiteX0" fmla="*/ 184690 w 3118390"/>
                  <a:gd name="connsiteY0" fmla="*/ 0 h 2752725"/>
                  <a:gd name="connsiteX1" fmla="*/ 122794 w 3118390"/>
                  <a:gd name="connsiteY1" fmla="*/ 394399 h 2752725"/>
                  <a:gd name="connsiteX2" fmla="*/ 18382 w 3118390"/>
                  <a:gd name="connsiteY2" fmla="*/ 922324 h 2752725"/>
                  <a:gd name="connsiteX3" fmla="*/ 537115 w 3118390"/>
                  <a:gd name="connsiteY3" fmla="*/ 1057275 h 2752725"/>
                  <a:gd name="connsiteX4" fmla="*/ 784765 w 3118390"/>
                  <a:gd name="connsiteY4" fmla="*/ 1266825 h 2752725"/>
                  <a:gd name="connsiteX5" fmla="*/ 1489615 w 3118390"/>
                  <a:gd name="connsiteY5" fmla="*/ 1638300 h 2752725"/>
                  <a:gd name="connsiteX6" fmla="*/ 2261140 w 3118390"/>
                  <a:gd name="connsiteY6" fmla="*/ 1933575 h 2752725"/>
                  <a:gd name="connsiteX7" fmla="*/ 3118390 w 3118390"/>
                  <a:gd name="connsiteY7" fmla="*/ 2752725 h 2752725"/>
                  <a:gd name="connsiteX0" fmla="*/ 186218 w 3119918"/>
                  <a:gd name="connsiteY0" fmla="*/ 0 h 2752725"/>
                  <a:gd name="connsiteX1" fmla="*/ 124322 w 3119918"/>
                  <a:gd name="connsiteY1" fmla="*/ 394399 h 2752725"/>
                  <a:gd name="connsiteX2" fmla="*/ 19910 w 3119918"/>
                  <a:gd name="connsiteY2" fmla="*/ 922324 h 2752725"/>
                  <a:gd name="connsiteX3" fmla="*/ 538643 w 3119918"/>
                  <a:gd name="connsiteY3" fmla="*/ 1057275 h 2752725"/>
                  <a:gd name="connsiteX4" fmla="*/ 786293 w 3119918"/>
                  <a:gd name="connsiteY4" fmla="*/ 1266825 h 2752725"/>
                  <a:gd name="connsiteX5" fmla="*/ 1491143 w 3119918"/>
                  <a:gd name="connsiteY5" fmla="*/ 1638300 h 2752725"/>
                  <a:gd name="connsiteX6" fmla="*/ 2262668 w 3119918"/>
                  <a:gd name="connsiteY6" fmla="*/ 1933575 h 2752725"/>
                  <a:gd name="connsiteX7" fmla="*/ 3119918 w 3119918"/>
                  <a:gd name="connsiteY7" fmla="*/ 2752725 h 2752725"/>
                  <a:gd name="connsiteX0" fmla="*/ 200001 w 3133701"/>
                  <a:gd name="connsiteY0" fmla="*/ 0 h 2752725"/>
                  <a:gd name="connsiteX1" fmla="*/ 138105 w 3133701"/>
                  <a:gd name="connsiteY1" fmla="*/ 394399 h 2752725"/>
                  <a:gd name="connsiteX2" fmla="*/ 17169 w 3133701"/>
                  <a:gd name="connsiteY2" fmla="*/ 909037 h 2752725"/>
                  <a:gd name="connsiteX3" fmla="*/ 552426 w 3133701"/>
                  <a:gd name="connsiteY3" fmla="*/ 1057275 h 2752725"/>
                  <a:gd name="connsiteX4" fmla="*/ 800076 w 3133701"/>
                  <a:gd name="connsiteY4" fmla="*/ 1266825 h 2752725"/>
                  <a:gd name="connsiteX5" fmla="*/ 1504926 w 3133701"/>
                  <a:gd name="connsiteY5" fmla="*/ 1638300 h 2752725"/>
                  <a:gd name="connsiteX6" fmla="*/ 2276451 w 3133701"/>
                  <a:gd name="connsiteY6" fmla="*/ 1933575 h 2752725"/>
                  <a:gd name="connsiteX7" fmla="*/ 3133701 w 3133701"/>
                  <a:gd name="connsiteY7" fmla="*/ 2752725 h 2752725"/>
                  <a:gd name="connsiteX0" fmla="*/ 201989 w 3135689"/>
                  <a:gd name="connsiteY0" fmla="*/ 0 h 2752725"/>
                  <a:gd name="connsiteX1" fmla="*/ 140093 w 3135689"/>
                  <a:gd name="connsiteY1" fmla="*/ 394399 h 2752725"/>
                  <a:gd name="connsiteX2" fmla="*/ 19157 w 3135689"/>
                  <a:gd name="connsiteY2" fmla="*/ 909037 h 2752725"/>
                  <a:gd name="connsiteX3" fmla="*/ 554414 w 3135689"/>
                  <a:gd name="connsiteY3" fmla="*/ 1057275 h 2752725"/>
                  <a:gd name="connsiteX4" fmla="*/ 802064 w 3135689"/>
                  <a:gd name="connsiteY4" fmla="*/ 1266825 h 2752725"/>
                  <a:gd name="connsiteX5" fmla="*/ 1506914 w 3135689"/>
                  <a:gd name="connsiteY5" fmla="*/ 1638300 h 2752725"/>
                  <a:gd name="connsiteX6" fmla="*/ 2278439 w 3135689"/>
                  <a:gd name="connsiteY6" fmla="*/ 1933575 h 2752725"/>
                  <a:gd name="connsiteX7" fmla="*/ 3135689 w 3135689"/>
                  <a:gd name="connsiteY7" fmla="*/ 2752725 h 2752725"/>
                  <a:gd name="connsiteX0" fmla="*/ 193418 w 3127118"/>
                  <a:gd name="connsiteY0" fmla="*/ 0 h 2752725"/>
                  <a:gd name="connsiteX1" fmla="*/ 131522 w 3127118"/>
                  <a:gd name="connsiteY1" fmla="*/ 394399 h 2752725"/>
                  <a:gd name="connsiteX2" fmla="*/ 10586 w 3127118"/>
                  <a:gd name="connsiteY2" fmla="*/ 909037 h 2752725"/>
                  <a:gd name="connsiteX3" fmla="*/ 430183 w 3127118"/>
                  <a:gd name="connsiteY3" fmla="*/ 1004128 h 2752725"/>
                  <a:gd name="connsiteX4" fmla="*/ 793493 w 3127118"/>
                  <a:gd name="connsiteY4" fmla="*/ 1266825 h 2752725"/>
                  <a:gd name="connsiteX5" fmla="*/ 1498343 w 3127118"/>
                  <a:gd name="connsiteY5" fmla="*/ 1638300 h 2752725"/>
                  <a:gd name="connsiteX6" fmla="*/ 2269868 w 3127118"/>
                  <a:gd name="connsiteY6" fmla="*/ 1933575 h 2752725"/>
                  <a:gd name="connsiteX7" fmla="*/ 3127118 w 3127118"/>
                  <a:gd name="connsiteY7" fmla="*/ 2752725 h 2752725"/>
                  <a:gd name="connsiteX0" fmla="*/ 172621 w 3106321"/>
                  <a:gd name="connsiteY0" fmla="*/ 0 h 2752725"/>
                  <a:gd name="connsiteX1" fmla="*/ 110725 w 3106321"/>
                  <a:gd name="connsiteY1" fmla="*/ 394399 h 2752725"/>
                  <a:gd name="connsiteX2" fmla="*/ 11819 w 3106321"/>
                  <a:gd name="connsiteY2" fmla="*/ 889107 h 2752725"/>
                  <a:gd name="connsiteX3" fmla="*/ 409386 w 3106321"/>
                  <a:gd name="connsiteY3" fmla="*/ 1004128 h 2752725"/>
                  <a:gd name="connsiteX4" fmla="*/ 772696 w 3106321"/>
                  <a:gd name="connsiteY4" fmla="*/ 1266825 h 2752725"/>
                  <a:gd name="connsiteX5" fmla="*/ 1477546 w 3106321"/>
                  <a:gd name="connsiteY5" fmla="*/ 1638300 h 2752725"/>
                  <a:gd name="connsiteX6" fmla="*/ 2249071 w 3106321"/>
                  <a:gd name="connsiteY6" fmla="*/ 1933575 h 2752725"/>
                  <a:gd name="connsiteX7" fmla="*/ 3106321 w 3106321"/>
                  <a:gd name="connsiteY7" fmla="*/ 2752725 h 2752725"/>
                  <a:gd name="connsiteX0" fmla="*/ 163269 w 3096969"/>
                  <a:gd name="connsiteY0" fmla="*/ 0 h 2752725"/>
                  <a:gd name="connsiteX1" fmla="*/ 101373 w 3096969"/>
                  <a:gd name="connsiteY1" fmla="*/ 394399 h 2752725"/>
                  <a:gd name="connsiteX2" fmla="*/ 2467 w 3096969"/>
                  <a:gd name="connsiteY2" fmla="*/ 889107 h 2752725"/>
                  <a:gd name="connsiteX3" fmla="*/ 400034 w 3096969"/>
                  <a:gd name="connsiteY3" fmla="*/ 1004128 h 2752725"/>
                  <a:gd name="connsiteX4" fmla="*/ 763344 w 3096969"/>
                  <a:gd name="connsiteY4" fmla="*/ 1266825 h 2752725"/>
                  <a:gd name="connsiteX5" fmla="*/ 1468194 w 3096969"/>
                  <a:gd name="connsiteY5" fmla="*/ 1638300 h 2752725"/>
                  <a:gd name="connsiteX6" fmla="*/ 2239719 w 3096969"/>
                  <a:gd name="connsiteY6" fmla="*/ 1933575 h 2752725"/>
                  <a:gd name="connsiteX7" fmla="*/ 3096969 w 3096969"/>
                  <a:gd name="connsiteY7" fmla="*/ 2752725 h 2752725"/>
                  <a:gd name="connsiteX0" fmla="*/ 250938 w 3184638"/>
                  <a:gd name="connsiteY0" fmla="*/ 0 h 2752725"/>
                  <a:gd name="connsiteX1" fmla="*/ 189042 w 3184638"/>
                  <a:gd name="connsiteY1" fmla="*/ 394399 h 2752725"/>
                  <a:gd name="connsiteX2" fmla="*/ 2015 w 3184638"/>
                  <a:gd name="connsiteY2" fmla="*/ 875820 h 2752725"/>
                  <a:gd name="connsiteX3" fmla="*/ 487703 w 3184638"/>
                  <a:gd name="connsiteY3" fmla="*/ 1004128 h 2752725"/>
                  <a:gd name="connsiteX4" fmla="*/ 851013 w 3184638"/>
                  <a:gd name="connsiteY4" fmla="*/ 1266825 h 2752725"/>
                  <a:gd name="connsiteX5" fmla="*/ 1555863 w 3184638"/>
                  <a:gd name="connsiteY5" fmla="*/ 1638300 h 2752725"/>
                  <a:gd name="connsiteX6" fmla="*/ 2327388 w 3184638"/>
                  <a:gd name="connsiteY6" fmla="*/ 1933575 h 2752725"/>
                  <a:gd name="connsiteX7" fmla="*/ 3184638 w 3184638"/>
                  <a:gd name="connsiteY7" fmla="*/ 2752725 h 2752725"/>
                  <a:gd name="connsiteX0" fmla="*/ 252451 w 3186151"/>
                  <a:gd name="connsiteY0" fmla="*/ 0 h 2752725"/>
                  <a:gd name="connsiteX1" fmla="*/ 190555 w 3186151"/>
                  <a:gd name="connsiteY1" fmla="*/ 394399 h 2752725"/>
                  <a:gd name="connsiteX2" fmla="*/ 3528 w 3186151"/>
                  <a:gd name="connsiteY2" fmla="*/ 875820 h 2752725"/>
                  <a:gd name="connsiteX3" fmla="*/ 373556 w 3186151"/>
                  <a:gd name="connsiteY3" fmla="*/ 957625 h 2752725"/>
                  <a:gd name="connsiteX4" fmla="*/ 852526 w 3186151"/>
                  <a:gd name="connsiteY4" fmla="*/ 1266825 h 2752725"/>
                  <a:gd name="connsiteX5" fmla="*/ 1557376 w 3186151"/>
                  <a:gd name="connsiteY5" fmla="*/ 1638300 h 2752725"/>
                  <a:gd name="connsiteX6" fmla="*/ 2328901 w 3186151"/>
                  <a:gd name="connsiteY6" fmla="*/ 1933575 h 2752725"/>
                  <a:gd name="connsiteX7" fmla="*/ 3186151 w 3186151"/>
                  <a:gd name="connsiteY7" fmla="*/ 2752725 h 2752725"/>
                  <a:gd name="connsiteX0" fmla="*/ 252453 w 3186153"/>
                  <a:gd name="connsiteY0" fmla="*/ 0 h 2752725"/>
                  <a:gd name="connsiteX1" fmla="*/ 190557 w 3186153"/>
                  <a:gd name="connsiteY1" fmla="*/ 394399 h 2752725"/>
                  <a:gd name="connsiteX2" fmla="*/ 3530 w 3186153"/>
                  <a:gd name="connsiteY2" fmla="*/ 875820 h 2752725"/>
                  <a:gd name="connsiteX3" fmla="*/ 373558 w 3186153"/>
                  <a:gd name="connsiteY3" fmla="*/ 957625 h 2752725"/>
                  <a:gd name="connsiteX4" fmla="*/ 852528 w 3186153"/>
                  <a:gd name="connsiteY4" fmla="*/ 1266825 h 2752725"/>
                  <a:gd name="connsiteX5" fmla="*/ 1557378 w 3186153"/>
                  <a:gd name="connsiteY5" fmla="*/ 1638300 h 2752725"/>
                  <a:gd name="connsiteX6" fmla="*/ 2328903 w 3186153"/>
                  <a:gd name="connsiteY6" fmla="*/ 1933575 h 2752725"/>
                  <a:gd name="connsiteX7" fmla="*/ 3186153 w 3186153"/>
                  <a:gd name="connsiteY7" fmla="*/ 2752725 h 2752725"/>
                  <a:gd name="connsiteX0" fmla="*/ 251922 w 3185622"/>
                  <a:gd name="connsiteY0" fmla="*/ 0 h 2752725"/>
                  <a:gd name="connsiteX1" fmla="*/ 201043 w 3185622"/>
                  <a:gd name="connsiteY1" fmla="*/ 394399 h 2752725"/>
                  <a:gd name="connsiteX2" fmla="*/ 2999 w 3185622"/>
                  <a:gd name="connsiteY2" fmla="*/ 875820 h 2752725"/>
                  <a:gd name="connsiteX3" fmla="*/ 373027 w 3185622"/>
                  <a:gd name="connsiteY3" fmla="*/ 957625 h 2752725"/>
                  <a:gd name="connsiteX4" fmla="*/ 851997 w 3185622"/>
                  <a:gd name="connsiteY4" fmla="*/ 1266825 h 2752725"/>
                  <a:gd name="connsiteX5" fmla="*/ 1556847 w 3185622"/>
                  <a:gd name="connsiteY5" fmla="*/ 1638300 h 2752725"/>
                  <a:gd name="connsiteX6" fmla="*/ 2328372 w 3185622"/>
                  <a:gd name="connsiteY6" fmla="*/ 1933575 h 2752725"/>
                  <a:gd name="connsiteX7" fmla="*/ 3185622 w 3185622"/>
                  <a:gd name="connsiteY7" fmla="*/ 2752725 h 2752725"/>
                  <a:gd name="connsiteX0" fmla="*/ 251576 w 3185276"/>
                  <a:gd name="connsiteY0" fmla="*/ 0 h 2752725"/>
                  <a:gd name="connsiteX1" fmla="*/ 200697 w 3185276"/>
                  <a:gd name="connsiteY1" fmla="*/ 394399 h 2752725"/>
                  <a:gd name="connsiteX2" fmla="*/ 2653 w 3185276"/>
                  <a:gd name="connsiteY2" fmla="*/ 875820 h 2752725"/>
                  <a:gd name="connsiteX3" fmla="*/ 372681 w 3185276"/>
                  <a:gd name="connsiteY3" fmla="*/ 957625 h 2752725"/>
                  <a:gd name="connsiteX4" fmla="*/ 851651 w 3185276"/>
                  <a:gd name="connsiteY4" fmla="*/ 1266825 h 2752725"/>
                  <a:gd name="connsiteX5" fmla="*/ 1556501 w 3185276"/>
                  <a:gd name="connsiteY5" fmla="*/ 1638300 h 2752725"/>
                  <a:gd name="connsiteX6" fmla="*/ 2328026 w 3185276"/>
                  <a:gd name="connsiteY6" fmla="*/ 1933575 h 2752725"/>
                  <a:gd name="connsiteX7" fmla="*/ 3185276 w 3185276"/>
                  <a:gd name="connsiteY7" fmla="*/ 2752725 h 2752725"/>
                  <a:gd name="connsiteX0" fmla="*/ 251845 w 3185545"/>
                  <a:gd name="connsiteY0" fmla="*/ 0 h 2752725"/>
                  <a:gd name="connsiteX1" fmla="*/ 200966 w 3185545"/>
                  <a:gd name="connsiteY1" fmla="*/ 394399 h 2752725"/>
                  <a:gd name="connsiteX2" fmla="*/ 2922 w 3185545"/>
                  <a:gd name="connsiteY2" fmla="*/ 875820 h 2752725"/>
                  <a:gd name="connsiteX3" fmla="*/ 372950 w 3185545"/>
                  <a:gd name="connsiteY3" fmla="*/ 957625 h 2752725"/>
                  <a:gd name="connsiteX4" fmla="*/ 851920 w 3185545"/>
                  <a:gd name="connsiteY4" fmla="*/ 1266825 h 2752725"/>
                  <a:gd name="connsiteX5" fmla="*/ 1556770 w 3185545"/>
                  <a:gd name="connsiteY5" fmla="*/ 1638300 h 2752725"/>
                  <a:gd name="connsiteX6" fmla="*/ 2328295 w 3185545"/>
                  <a:gd name="connsiteY6" fmla="*/ 1933575 h 2752725"/>
                  <a:gd name="connsiteX7" fmla="*/ 3185545 w 3185545"/>
                  <a:gd name="connsiteY7" fmla="*/ 2752725 h 2752725"/>
                  <a:gd name="connsiteX0" fmla="*/ 251576 w 3185276"/>
                  <a:gd name="connsiteY0" fmla="*/ 0 h 2752725"/>
                  <a:gd name="connsiteX1" fmla="*/ 200697 w 3185276"/>
                  <a:gd name="connsiteY1" fmla="*/ 394399 h 2752725"/>
                  <a:gd name="connsiteX2" fmla="*/ 2653 w 3185276"/>
                  <a:gd name="connsiteY2" fmla="*/ 875820 h 2752725"/>
                  <a:gd name="connsiteX3" fmla="*/ 372681 w 3185276"/>
                  <a:gd name="connsiteY3" fmla="*/ 957625 h 2752725"/>
                  <a:gd name="connsiteX4" fmla="*/ 851651 w 3185276"/>
                  <a:gd name="connsiteY4" fmla="*/ 1266825 h 2752725"/>
                  <a:gd name="connsiteX5" fmla="*/ 1556501 w 3185276"/>
                  <a:gd name="connsiteY5" fmla="*/ 1638300 h 2752725"/>
                  <a:gd name="connsiteX6" fmla="*/ 2328026 w 3185276"/>
                  <a:gd name="connsiteY6" fmla="*/ 1933575 h 2752725"/>
                  <a:gd name="connsiteX7" fmla="*/ 3185276 w 3185276"/>
                  <a:gd name="connsiteY7" fmla="*/ 2752725 h 2752725"/>
                  <a:gd name="connsiteX0" fmla="*/ 251638 w 3185338"/>
                  <a:gd name="connsiteY0" fmla="*/ 0 h 2752725"/>
                  <a:gd name="connsiteX1" fmla="*/ 200759 w 3185338"/>
                  <a:gd name="connsiteY1" fmla="*/ 394399 h 2752725"/>
                  <a:gd name="connsiteX2" fmla="*/ 2715 w 3185338"/>
                  <a:gd name="connsiteY2" fmla="*/ 875820 h 2752725"/>
                  <a:gd name="connsiteX3" fmla="*/ 372743 w 3185338"/>
                  <a:gd name="connsiteY3" fmla="*/ 957625 h 2752725"/>
                  <a:gd name="connsiteX4" fmla="*/ 851713 w 3185338"/>
                  <a:gd name="connsiteY4" fmla="*/ 1266825 h 2752725"/>
                  <a:gd name="connsiteX5" fmla="*/ 1556563 w 3185338"/>
                  <a:gd name="connsiteY5" fmla="*/ 1638300 h 2752725"/>
                  <a:gd name="connsiteX6" fmla="*/ 2328088 w 3185338"/>
                  <a:gd name="connsiteY6" fmla="*/ 1933575 h 2752725"/>
                  <a:gd name="connsiteX7" fmla="*/ 3185338 w 3185338"/>
                  <a:gd name="connsiteY7" fmla="*/ 2752725 h 2752725"/>
                  <a:gd name="connsiteX0" fmla="*/ 197705 w 3131405"/>
                  <a:gd name="connsiteY0" fmla="*/ 0 h 2752725"/>
                  <a:gd name="connsiteX1" fmla="*/ 146826 w 3131405"/>
                  <a:gd name="connsiteY1" fmla="*/ 394399 h 2752725"/>
                  <a:gd name="connsiteX2" fmla="*/ 3860 w 3131405"/>
                  <a:gd name="connsiteY2" fmla="*/ 875820 h 2752725"/>
                  <a:gd name="connsiteX3" fmla="*/ 318810 w 3131405"/>
                  <a:gd name="connsiteY3" fmla="*/ 957625 h 2752725"/>
                  <a:gd name="connsiteX4" fmla="*/ 797780 w 3131405"/>
                  <a:gd name="connsiteY4" fmla="*/ 1266825 h 2752725"/>
                  <a:gd name="connsiteX5" fmla="*/ 1502630 w 3131405"/>
                  <a:gd name="connsiteY5" fmla="*/ 1638300 h 2752725"/>
                  <a:gd name="connsiteX6" fmla="*/ 2274155 w 3131405"/>
                  <a:gd name="connsiteY6" fmla="*/ 1933575 h 2752725"/>
                  <a:gd name="connsiteX7" fmla="*/ 3131405 w 3131405"/>
                  <a:gd name="connsiteY7" fmla="*/ 2752725 h 2752725"/>
                  <a:gd name="connsiteX0" fmla="*/ 196901 w 3130601"/>
                  <a:gd name="connsiteY0" fmla="*/ 0 h 2752725"/>
                  <a:gd name="connsiteX1" fmla="*/ 146022 w 3130601"/>
                  <a:gd name="connsiteY1" fmla="*/ 394399 h 2752725"/>
                  <a:gd name="connsiteX2" fmla="*/ 3056 w 3130601"/>
                  <a:gd name="connsiteY2" fmla="*/ 875820 h 2752725"/>
                  <a:gd name="connsiteX3" fmla="*/ 295975 w 3130601"/>
                  <a:gd name="connsiteY3" fmla="*/ 990841 h 2752725"/>
                  <a:gd name="connsiteX4" fmla="*/ 796976 w 3130601"/>
                  <a:gd name="connsiteY4" fmla="*/ 1266825 h 2752725"/>
                  <a:gd name="connsiteX5" fmla="*/ 1501826 w 3130601"/>
                  <a:gd name="connsiteY5" fmla="*/ 1638300 h 2752725"/>
                  <a:gd name="connsiteX6" fmla="*/ 2273351 w 3130601"/>
                  <a:gd name="connsiteY6" fmla="*/ 1933575 h 2752725"/>
                  <a:gd name="connsiteX7" fmla="*/ 3130601 w 3130601"/>
                  <a:gd name="connsiteY7" fmla="*/ 2752725 h 2752725"/>
                  <a:gd name="connsiteX0" fmla="*/ 196899 w 3130599"/>
                  <a:gd name="connsiteY0" fmla="*/ 0 h 2752725"/>
                  <a:gd name="connsiteX1" fmla="*/ 146020 w 3130599"/>
                  <a:gd name="connsiteY1" fmla="*/ 394399 h 2752725"/>
                  <a:gd name="connsiteX2" fmla="*/ 3054 w 3130599"/>
                  <a:gd name="connsiteY2" fmla="*/ 875820 h 2752725"/>
                  <a:gd name="connsiteX3" fmla="*/ 295973 w 3130599"/>
                  <a:gd name="connsiteY3" fmla="*/ 990841 h 2752725"/>
                  <a:gd name="connsiteX4" fmla="*/ 796974 w 3130599"/>
                  <a:gd name="connsiteY4" fmla="*/ 1266825 h 2752725"/>
                  <a:gd name="connsiteX5" fmla="*/ 1501824 w 3130599"/>
                  <a:gd name="connsiteY5" fmla="*/ 1638300 h 2752725"/>
                  <a:gd name="connsiteX6" fmla="*/ 2273349 w 3130599"/>
                  <a:gd name="connsiteY6" fmla="*/ 1933575 h 2752725"/>
                  <a:gd name="connsiteX7" fmla="*/ 3130599 w 3130599"/>
                  <a:gd name="connsiteY7" fmla="*/ 2752725 h 2752725"/>
                  <a:gd name="connsiteX0" fmla="*/ 196899 w 3130599"/>
                  <a:gd name="connsiteY0" fmla="*/ 0 h 2752725"/>
                  <a:gd name="connsiteX1" fmla="*/ 146020 w 3130599"/>
                  <a:gd name="connsiteY1" fmla="*/ 394399 h 2752725"/>
                  <a:gd name="connsiteX2" fmla="*/ 3054 w 3130599"/>
                  <a:gd name="connsiteY2" fmla="*/ 875820 h 2752725"/>
                  <a:gd name="connsiteX3" fmla="*/ 295973 w 3130599"/>
                  <a:gd name="connsiteY3" fmla="*/ 990841 h 2752725"/>
                  <a:gd name="connsiteX4" fmla="*/ 796974 w 3130599"/>
                  <a:gd name="connsiteY4" fmla="*/ 1266825 h 2752725"/>
                  <a:gd name="connsiteX5" fmla="*/ 1501824 w 3130599"/>
                  <a:gd name="connsiteY5" fmla="*/ 1638300 h 2752725"/>
                  <a:gd name="connsiteX6" fmla="*/ 2273349 w 3130599"/>
                  <a:gd name="connsiteY6" fmla="*/ 1933575 h 2752725"/>
                  <a:gd name="connsiteX7" fmla="*/ 3130599 w 3130599"/>
                  <a:gd name="connsiteY7" fmla="*/ 2752725 h 2752725"/>
                  <a:gd name="connsiteX0" fmla="*/ 196899 w 3130599"/>
                  <a:gd name="connsiteY0" fmla="*/ 0 h 2752725"/>
                  <a:gd name="connsiteX1" fmla="*/ 146020 w 3130599"/>
                  <a:gd name="connsiteY1" fmla="*/ 394399 h 2752725"/>
                  <a:gd name="connsiteX2" fmla="*/ 3054 w 3130599"/>
                  <a:gd name="connsiteY2" fmla="*/ 875820 h 2752725"/>
                  <a:gd name="connsiteX3" fmla="*/ 295973 w 3130599"/>
                  <a:gd name="connsiteY3" fmla="*/ 990841 h 2752725"/>
                  <a:gd name="connsiteX4" fmla="*/ 796974 w 3130599"/>
                  <a:gd name="connsiteY4" fmla="*/ 1266825 h 2752725"/>
                  <a:gd name="connsiteX5" fmla="*/ 1501824 w 3130599"/>
                  <a:gd name="connsiteY5" fmla="*/ 1638300 h 2752725"/>
                  <a:gd name="connsiteX6" fmla="*/ 2273349 w 3130599"/>
                  <a:gd name="connsiteY6" fmla="*/ 1933575 h 2752725"/>
                  <a:gd name="connsiteX7" fmla="*/ 3130599 w 3130599"/>
                  <a:gd name="connsiteY7" fmla="*/ 2752725 h 2752725"/>
                  <a:gd name="connsiteX0" fmla="*/ 234923 w 3168623"/>
                  <a:gd name="connsiteY0" fmla="*/ 0 h 2752725"/>
                  <a:gd name="connsiteX1" fmla="*/ 184044 w 3168623"/>
                  <a:gd name="connsiteY1" fmla="*/ 394399 h 2752725"/>
                  <a:gd name="connsiteX2" fmla="*/ 2525 w 3168623"/>
                  <a:gd name="connsiteY2" fmla="*/ 869177 h 2752725"/>
                  <a:gd name="connsiteX3" fmla="*/ 333997 w 3168623"/>
                  <a:gd name="connsiteY3" fmla="*/ 990841 h 2752725"/>
                  <a:gd name="connsiteX4" fmla="*/ 834998 w 3168623"/>
                  <a:gd name="connsiteY4" fmla="*/ 1266825 h 2752725"/>
                  <a:gd name="connsiteX5" fmla="*/ 1539848 w 3168623"/>
                  <a:gd name="connsiteY5" fmla="*/ 1638300 h 2752725"/>
                  <a:gd name="connsiteX6" fmla="*/ 2311373 w 3168623"/>
                  <a:gd name="connsiteY6" fmla="*/ 1933575 h 2752725"/>
                  <a:gd name="connsiteX7" fmla="*/ 3168623 w 3168623"/>
                  <a:gd name="connsiteY7" fmla="*/ 2752725 h 2752725"/>
                  <a:gd name="connsiteX0" fmla="*/ 234923 w 3168623"/>
                  <a:gd name="connsiteY0" fmla="*/ 0 h 2752725"/>
                  <a:gd name="connsiteX1" fmla="*/ 184044 w 3168623"/>
                  <a:gd name="connsiteY1" fmla="*/ 394399 h 2752725"/>
                  <a:gd name="connsiteX2" fmla="*/ 2525 w 3168623"/>
                  <a:gd name="connsiteY2" fmla="*/ 869177 h 2752725"/>
                  <a:gd name="connsiteX3" fmla="*/ 333997 w 3168623"/>
                  <a:gd name="connsiteY3" fmla="*/ 990841 h 2752725"/>
                  <a:gd name="connsiteX4" fmla="*/ 741367 w 3168623"/>
                  <a:gd name="connsiteY4" fmla="*/ 1180459 h 2752725"/>
                  <a:gd name="connsiteX5" fmla="*/ 1539848 w 3168623"/>
                  <a:gd name="connsiteY5" fmla="*/ 1638300 h 2752725"/>
                  <a:gd name="connsiteX6" fmla="*/ 2311373 w 3168623"/>
                  <a:gd name="connsiteY6" fmla="*/ 1933575 h 2752725"/>
                  <a:gd name="connsiteX7" fmla="*/ 3168623 w 3168623"/>
                  <a:gd name="connsiteY7" fmla="*/ 2752725 h 2752725"/>
                  <a:gd name="connsiteX0" fmla="*/ 234923 w 3168623"/>
                  <a:gd name="connsiteY0" fmla="*/ 0 h 2752725"/>
                  <a:gd name="connsiteX1" fmla="*/ 184044 w 3168623"/>
                  <a:gd name="connsiteY1" fmla="*/ 394399 h 2752725"/>
                  <a:gd name="connsiteX2" fmla="*/ 2525 w 3168623"/>
                  <a:gd name="connsiteY2" fmla="*/ 869177 h 2752725"/>
                  <a:gd name="connsiteX3" fmla="*/ 333997 w 3168623"/>
                  <a:gd name="connsiteY3" fmla="*/ 990841 h 2752725"/>
                  <a:gd name="connsiteX4" fmla="*/ 741367 w 3168623"/>
                  <a:gd name="connsiteY4" fmla="*/ 1180459 h 2752725"/>
                  <a:gd name="connsiteX5" fmla="*/ 1539848 w 3168623"/>
                  <a:gd name="connsiteY5" fmla="*/ 1638300 h 2752725"/>
                  <a:gd name="connsiteX6" fmla="*/ 2311373 w 3168623"/>
                  <a:gd name="connsiteY6" fmla="*/ 1933575 h 2752725"/>
                  <a:gd name="connsiteX7" fmla="*/ 3168623 w 3168623"/>
                  <a:gd name="connsiteY7" fmla="*/ 2752725 h 2752725"/>
                  <a:gd name="connsiteX0" fmla="*/ 234923 w 3168623"/>
                  <a:gd name="connsiteY0" fmla="*/ 0 h 2752725"/>
                  <a:gd name="connsiteX1" fmla="*/ 184044 w 3168623"/>
                  <a:gd name="connsiteY1" fmla="*/ 394399 h 2752725"/>
                  <a:gd name="connsiteX2" fmla="*/ 2525 w 3168623"/>
                  <a:gd name="connsiteY2" fmla="*/ 869177 h 2752725"/>
                  <a:gd name="connsiteX3" fmla="*/ 333997 w 3168623"/>
                  <a:gd name="connsiteY3" fmla="*/ 990841 h 2752725"/>
                  <a:gd name="connsiteX4" fmla="*/ 741367 w 3168623"/>
                  <a:gd name="connsiteY4" fmla="*/ 1180459 h 2752725"/>
                  <a:gd name="connsiteX5" fmla="*/ 1539848 w 3168623"/>
                  <a:gd name="connsiteY5" fmla="*/ 1638300 h 2752725"/>
                  <a:gd name="connsiteX6" fmla="*/ 2311373 w 3168623"/>
                  <a:gd name="connsiteY6" fmla="*/ 1933575 h 2752725"/>
                  <a:gd name="connsiteX7" fmla="*/ 3168623 w 3168623"/>
                  <a:gd name="connsiteY7" fmla="*/ 2752725 h 2752725"/>
                  <a:gd name="connsiteX0" fmla="*/ 234450 w 3168150"/>
                  <a:gd name="connsiteY0" fmla="*/ 0 h 2752725"/>
                  <a:gd name="connsiteX1" fmla="*/ 183571 w 3168150"/>
                  <a:gd name="connsiteY1" fmla="*/ 394399 h 2752725"/>
                  <a:gd name="connsiteX2" fmla="*/ 2052 w 3168150"/>
                  <a:gd name="connsiteY2" fmla="*/ 869177 h 2752725"/>
                  <a:gd name="connsiteX3" fmla="*/ 317002 w 3168150"/>
                  <a:gd name="connsiteY3" fmla="*/ 977555 h 2752725"/>
                  <a:gd name="connsiteX4" fmla="*/ 740894 w 3168150"/>
                  <a:gd name="connsiteY4" fmla="*/ 1180459 h 2752725"/>
                  <a:gd name="connsiteX5" fmla="*/ 1539375 w 3168150"/>
                  <a:gd name="connsiteY5" fmla="*/ 1638300 h 2752725"/>
                  <a:gd name="connsiteX6" fmla="*/ 2310900 w 3168150"/>
                  <a:gd name="connsiteY6" fmla="*/ 1933575 h 2752725"/>
                  <a:gd name="connsiteX7" fmla="*/ 3168150 w 3168150"/>
                  <a:gd name="connsiteY7" fmla="*/ 2752725 h 2752725"/>
                  <a:gd name="connsiteX0" fmla="*/ 234450 w 3168150"/>
                  <a:gd name="connsiteY0" fmla="*/ 0 h 2752725"/>
                  <a:gd name="connsiteX1" fmla="*/ 183571 w 3168150"/>
                  <a:gd name="connsiteY1" fmla="*/ 394399 h 2752725"/>
                  <a:gd name="connsiteX2" fmla="*/ 2052 w 3168150"/>
                  <a:gd name="connsiteY2" fmla="*/ 869177 h 2752725"/>
                  <a:gd name="connsiteX3" fmla="*/ 317002 w 3168150"/>
                  <a:gd name="connsiteY3" fmla="*/ 977555 h 2752725"/>
                  <a:gd name="connsiteX4" fmla="*/ 740894 w 3168150"/>
                  <a:gd name="connsiteY4" fmla="*/ 1180459 h 2752725"/>
                  <a:gd name="connsiteX5" fmla="*/ 1539375 w 3168150"/>
                  <a:gd name="connsiteY5" fmla="*/ 1638300 h 2752725"/>
                  <a:gd name="connsiteX6" fmla="*/ 2310900 w 3168150"/>
                  <a:gd name="connsiteY6" fmla="*/ 1933575 h 2752725"/>
                  <a:gd name="connsiteX7" fmla="*/ 3168150 w 3168150"/>
                  <a:gd name="connsiteY7" fmla="*/ 2752725 h 2752725"/>
                  <a:gd name="connsiteX0" fmla="*/ 234450 w 3168150"/>
                  <a:gd name="connsiteY0" fmla="*/ 0 h 2752725"/>
                  <a:gd name="connsiteX1" fmla="*/ 183571 w 3168150"/>
                  <a:gd name="connsiteY1" fmla="*/ 394399 h 2752725"/>
                  <a:gd name="connsiteX2" fmla="*/ 2052 w 3168150"/>
                  <a:gd name="connsiteY2" fmla="*/ 869177 h 2752725"/>
                  <a:gd name="connsiteX3" fmla="*/ 317002 w 3168150"/>
                  <a:gd name="connsiteY3" fmla="*/ 977555 h 2752725"/>
                  <a:gd name="connsiteX4" fmla="*/ 740894 w 3168150"/>
                  <a:gd name="connsiteY4" fmla="*/ 1180459 h 2752725"/>
                  <a:gd name="connsiteX5" fmla="*/ 1539375 w 3168150"/>
                  <a:gd name="connsiteY5" fmla="*/ 1638300 h 2752725"/>
                  <a:gd name="connsiteX6" fmla="*/ 2310900 w 3168150"/>
                  <a:gd name="connsiteY6" fmla="*/ 1933575 h 2752725"/>
                  <a:gd name="connsiteX7" fmla="*/ 3168150 w 3168150"/>
                  <a:gd name="connsiteY7" fmla="*/ 2752725 h 2752725"/>
                  <a:gd name="connsiteX0" fmla="*/ 234450 w 3168150"/>
                  <a:gd name="connsiteY0" fmla="*/ 0 h 2752725"/>
                  <a:gd name="connsiteX1" fmla="*/ 183571 w 3168150"/>
                  <a:gd name="connsiteY1" fmla="*/ 394399 h 2752725"/>
                  <a:gd name="connsiteX2" fmla="*/ 2052 w 3168150"/>
                  <a:gd name="connsiteY2" fmla="*/ 869177 h 2752725"/>
                  <a:gd name="connsiteX3" fmla="*/ 317002 w 3168150"/>
                  <a:gd name="connsiteY3" fmla="*/ 977555 h 2752725"/>
                  <a:gd name="connsiteX4" fmla="*/ 740894 w 3168150"/>
                  <a:gd name="connsiteY4" fmla="*/ 1180459 h 2752725"/>
                  <a:gd name="connsiteX5" fmla="*/ 1539375 w 3168150"/>
                  <a:gd name="connsiteY5" fmla="*/ 1638300 h 2752725"/>
                  <a:gd name="connsiteX6" fmla="*/ 2310900 w 3168150"/>
                  <a:gd name="connsiteY6" fmla="*/ 1933575 h 2752725"/>
                  <a:gd name="connsiteX7" fmla="*/ 3168150 w 3168150"/>
                  <a:gd name="connsiteY7" fmla="*/ 2752725 h 2752725"/>
                  <a:gd name="connsiteX0" fmla="*/ 234450 w 3168150"/>
                  <a:gd name="connsiteY0" fmla="*/ 0 h 2752725"/>
                  <a:gd name="connsiteX1" fmla="*/ 183571 w 3168150"/>
                  <a:gd name="connsiteY1" fmla="*/ 394399 h 2752725"/>
                  <a:gd name="connsiteX2" fmla="*/ 2052 w 3168150"/>
                  <a:gd name="connsiteY2" fmla="*/ 869177 h 2752725"/>
                  <a:gd name="connsiteX3" fmla="*/ 317002 w 3168150"/>
                  <a:gd name="connsiteY3" fmla="*/ 977555 h 2752725"/>
                  <a:gd name="connsiteX4" fmla="*/ 740894 w 3168150"/>
                  <a:gd name="connsiteY4" fmla="*/ 1180459 h 2752725"/>
                  <a:gd name="connsiteX5" fmla="*/ 1539375 w 3168150"/>
                  <a:gd name="connsiteY5" fmla="*/ 1638300 h 2752725"/>
                  <a:gd name="connsiteX6" fmla="*/ 2310900 w 3168150"/>
                  <a:gd name="connsiteY6" fmla="*/ 1933575 h 2752725"/>
                  <a:gd name="connsiteX7" fmla="*/ 3168150 w 3168150"/>
                  <a:gd name="connsiteY7" fmla="*/ 2752725 h 2752725"/>
                  <a:gd name="connsiteX0" fmla="*/ 234450 w 3168150"/>
                  <a:gd name="connsiteY0" fmla="*/ 0 h 2752725"/>
                  <a:gd name="connsiteX1" fmla="*/ 183571 w 3168150"/>
                  <a:gd name="connsiteY1" fmla="*/ 394399 h 2752725"/>
                  <a:gd name="connsiteX2" fmla="*/ 2052 w 3168150"/>
                  <a:gd name="connsiteY2" fmla="*/ 869177 h 2752725"/>
                  <a:gd name="connsiteX3" fmla="*/ 317002 w 3168150"/>
                  <a:gd name="connsiteY3" fmla="*/ 977555 h 2752725"/>
                  <a:gd name="connsiteX4" fmla="*/ 740894 w 3168150"/>
                  <a:gd name="connsiteY4" fmla="*/ 1180459 h 2752725"/>
                  <a:gd name="connsiteX5" fmla="*/ 1539375 w 3168150"/>
                  <a:gd name="connsiteY5" fmla="*/ 1638300 h 2752725"/>
                  <a:gd name="connsiteX6" fmla="*/ 2310900 w 3168150"/>
                  <a:gd name="connsiteY6" fmla="*/ 1933575 h 2752725"/>
                  <a:gd name="connsiteX7" fmla="*/ 3168150 w 3168150"/>
                  <a:gd name="connsiteY7" fmla="*/ 2752725 h 2752725"/>
                  <a:gd name="connsiteX0" fmla="*/ 245365 w 3179065"/>
                  <a:gd name="connsiteY0" fmla="*/ 0 h 2752725"/>
                  <a:gd name="connsiteX1" fmla="*/ 194486 w 3179065"/>
                  <a:gd name="connsiteY1" fmla="*/ 394399 h 2752725"/>
                  <a:gd name="connsiteX2" fmla="*/ 1951 w 3179065"/>
                  <a:gd name="connsiteY2" fmla="*/ 875820 h 2752725"/>
                  <a:gd name="connsiteX3" fmla="*/ 327917 w 3179065"/>
                  <a:gd name="connsiteY3" fmla="*/ 977555 h 2752725"/>
                  <a:gd name="connsiteX4" fmla="*/ 751809 w 3179065"/>
                  <a:gd name="connsiteY4" fmla="*/ 1180459 h 2752725"/>
                  <a:gd name="connsiteX5" fmla="*/ 1550290 w 3179065"/>
                  <a:gd name="connsiteY5" fmla="*/ 1638300 h 2752725"/>
                  <a:gd name="connsiteX6" fmla="*/ 2321815 w 3179065"/>
                  <a:gd name="connsiteY6" fmla="*/ 1933575 h 2752725"/>
                  <a:gd name="connsiteX7" fmla="*/ 3179065 w 3179065"/>
                  <a:gd name="connsiteY7" fmla="*/ 2752725 h 2752725"/>
                  <a:gd name="connsiteX0" fmla="*/ 245663 w 3179363"/>
                  <a:gd name="connsiteY0" fmla="*/ 0 h 2752725"/>
                  <a:gd name="connsiteX1" fmla="*/ 194784 w 3179363"/>
                  <a:gd name="connsiteY1" fmla="*/ 394399 h 2752725"/>
                  <a:gd name="connsiteX2" fmla="*/ 2249 w 3179363"/>
                  <a:gd name="connsiteY2" fmla="*/ 875820 h 2752725"/>
                  <a:gd name="connsiteX3" fmla="*/ 328215 w 3179363"/>
                  <a:gd name="connsiteY3" fmla="*/ 977555 h 2752725"/>
                  <a:gd name="connsiteX4" fmla="*/ 752107 w 3179363"/>
                  <a:gd name="connsiteY4" fmla="*/ 1180459 h 2752725"/>
                  <a:gd name="connsiteX5" fmla="*/ 1550588 w 3179363"/>
                  <a:gd name="connsiteY5" fmla="*/ 1638300 h 2752725"/>
                  <a:gd name="connsiteX6" fmla="*/ 2322113 w 3179363"/>
                  <a:gd name="connsiteY6" fmla="*/ 1933575 h 2752725"/>
                  <a:gd name="connsiteX7" fmla="*/ 3179363 w 3179363"/>
                  <a:gd name="connsiteY7" fmla="*/ 2752725 h 2752725"/>
                  <a:gd name="connsiteX0" fmla="*/ 244907 w 3178607"/>
                  <a:gd name="connsiteY0" fmla="*/ 0 h 2752725"/>
                  <a:gd name="connsiteX1" fmla="*/ 194028 w 3178607"/>
                  <a:gd name="connsiteY1" fmla="*/ 394399 h 2752725"/>
                  <a:gd name="connsiteX2" fmla="*/ 1493 w 3178607"/>
                  <a:gd name="connsiteY2" fmla="*/ 875820 h 2752725"/>
                  <a:gd name="connsiteX3" fmla="*/ 327459 w 3178607"/>
                  <a:gd name="connsiteY3" fmla="*/ 977555 h 2752725"/>
                  <a:gd name="connsiteX4" fmla="*/ 751351 w 3178607"/>
                  <a:gd name="connsiteY4" fmla="*/ 1180459 h 2752725"/>
                  <a:gd name="connsiteX5" fmla="*/ 1549832 w 3178607"/>
                  <a:gd name="connsiteY5" fmla="*/ 1638300 h 2752725"/>
                  <a:gd name="connsiteX6" fmla="*/ 2321357 w 3178607"/>
                  <a:gd name="connsiteY6" fmla="*/ 1933575 h 2752725"/>
                  <a:gd name="connsiteX7" fmla="*/ 3178607 w 3178607"/>
                  <a:gd name="connsiteY7" fmla="*/ 2752725 h 2752725"/>
                  <a:gd name="connsiteX0" fmla="*/ 245367 w 3179067"/>
                  <a:gd name="connsiteY0" fmla="*/ 0 h 2752725"/>
                  <a:gd name="connsiteX1" fmla="*/ 194488 w 3179067"/>
                  <a:gd name="connsiteY1" fmla="*/ 394399 h 2752725"/>
                  <a:gd name="connsiteX2" fmla="*/ 1953 w 3179067"/>
                  <a:gd name="connsiteY2" fmla="*/ 875820 h 2752725"/>
                  <a:gd name="connsiteX3" fmla="*/ 327919 w 3179067"/>
                  <a:gd name="connsiteY3" fmla="*/ 977555 h 2752725"/>
                  <a:gd name="connsiteX4" fmla="*/ 751811 w 3179067"/>
                  <a:gd name="connsiteY4" fmla="*/ 1180459 h 2752725"/>
                  <a:gd name="connsiteX5" fmla="*/ 1550292 w 3179067"/>
                  <a:gd name="connsiteY5" fmla="*/ 1638300 h 2752725"/>
                  <a:gd name="connsiteX6" fmla="*/ 2321817 w 3179067"/>
                  <a:gd name="connsiteY6" fmla="*/ 1933575 h 2752725"/>
                  <a:gd name="connsiteX7" fmla="*/ 3179067 w 3179067"/>
                  <a:gd name="connsiteY7" fmla="*/ 2752725 h 2752725"/>
                  <a:gd name="connsiteX0" fmla="*/ 245367 w 3179067"/>
                  <a:gd name="connsiteY0" fmla="*/ 0 h 2752725"/>
                  <a:gd name="connsiteX1" fmla="*/ 194488 w 3179067"/>
                  <a:gd name="connsiteY1" fmla="*/ 387756 h 2752725"/>
                  <a:gd name="connsiteX2" fmla="*/ 1953 w 3179067"/>
                  <a:gd name="connsiteY2" fmla="*/ 875820 h 2752725"/>
                  <a:gd name="connsiteX3" fmla="*/ 327919 w 3179067"/>
                  <a:gd name="connsiteY3" fmla="*/ 977555 h 2752725"/>
                  <a:gd name="connsiteX4" fmla="*/ 751811 w 3179067"/>
                  <a:gd name="connsiteY4" fmla="*/ 1180459 h 2752725"/>
                  <a:gd name="connsiteX5" fmla="*/ 1550292 w 3179067"/>
                  <a:gd name="connsiteY5" fmla="*/ 1638300 h 2752725"/>
                  <a:gd name="connsiteX6" fmla="*/ 2321817 w 3179067"/>
                  <a:gd name="connsiteY6" fmla="*/ 1933575 h 2752725"/>
                  <a:gd name="connsiteX7" fmla="*/ 3179067 w 3179067"/>
                  <a:gd name="connsiteY7" fmla="*/ 2752725 h 2752725"/>
                  <a:gd name="connsiteX0" fmla="*/ 250828 w 3184528"/>
                  <a:gd name="connsiteY0" fmla="*/ 0 h 2752725"/>
                  <a:gd name="connsiteX1" fmla="*/ 199949 w 3184528"/>
                  <a:gd name="connsiteY1" fmla="*/ 387756 h 2752725"/>
                  <a:gd name="connsiteX2" fmla="*/ 1907 w 3184528"/>
                  <a:gd name="connsiteY2" fmla="*/ 875820 h 2752725"/>
                  <a:gd name="connsiteX3" fmla="*/ 333380 w 3184528"/>
                  <a:gd name="connsiteY3" fmla="*/ 977555 h 2752725"/>
                  <a:gd name="connsiteX4" fmla="*/ 757272 w 3184528"/>
                  <a:gd name="connsiteY4" fmla="*/ 1180459 h 2752725"/>
                  <a:gd name="connsiteX5" fmla="*/ 1555753 w 3184528"/>
                  <a:gd name="connsiteY5" fmla="*/ 1638300 h 2752725"/>
                  <a:gd name="connsiteX6" fmla="*/ 2327278 w 3184528"/>
                  <a:gd name="connsiteY6" fmla="*/ 1933575 h 2752725"/>
                  <a:gd name="connsiteX7" fmla="*/ 3184528 w 3184528"/>
                  <a:gd name="connsiteY7" fmla="*/ 2752725 h 2752725"/>
                  <a:gd name="connsiteX0" fmla="*/ 252808 w 3186508"/>
                  <a:gd name="connsiteY0" fmla="*/ 0 h 2752725"/>
                  <a:gd name="connsiteX1" fmla="*/ 201929 w 3186508"/>
                  <a:gd name="connsiteY1" fmla="*/ 387756 h 2752725"/>
                  <a:gd name="connsiteX2" fmla="*/ 3887 w 3186508"/>
                  <a:gd name="connsiteY2" fmla="*/ 875820 h 2752725"/>
                  <a:gd name="connsiteX3" fmla="*/ 335360 w 3186508"/>
                  <a:gd name="connsiteY3" fmla="*/ 977555 h 2752725"/>
                  <a:gd name="connsiteX4" fmla="*/ 759252 w 3186508"/>
                  <a:gd name="connsiteY4" fmla="*/ 1180459 h 2752725"/>
                  <a:gd name="connsiteX5" fmla="*/ 1557733 w 3186508"/>
                  <a:gd name="connsiteY5" fmla="*/ 1638300 h 2752725"/>
                  <a:gd name="connsiteX6" fmla="*/ 2329258 w 3186508"/>
                  <a:gd name="connsiteY6" fmla="*/ 1933575 h 2752725"/>
                  <a:gd name="connsiteX7" fmla="*/ 3186508 w 3186508"/>
                  <a:gd name="connsiteY7" fmla="*/ 2752725 h 2752725"/>
                  <a:gd name="connsiteX0" fmla="*/ 253122 w 3186822"/>
                  <a:gd name="connsiteY0" fmla="*/ 0 h 2752725"/>
                  <a:gd name="connsiteX1" fmla="*/ 202243 w 3186822"/>
                  <a:gd name="connsiteY1" fmla="*/ 387756 h 2752725"/>
                  <a:gd name="connsiteX2" fmla="*/ 4201 w 3186822"/>
                  <a:gd name="connsiteY2" fmla="*/ 875820 h 2752725"/>
                  <a:gd name="connsiteX3" fmla="*/ 335674 w 3186822"/>
                  <a:gd name="connsiteY3" fmla="*/ 977555 h 2752725"/>
                  <a:gd name="connsiteX4" fmla="*/ 759566 w 3186822"/>
                  <a:gd name="connsiteY4" fmla="*/ 1180459 h 2752725"/>
                  <a:gd name="connsiteX5" fmla="*/ 1558047 w 3186822"/>
                  <a:gd name="connsiteY5" fmla="*/ 1638300 h 2752725"/>
                  <a:gd name="connsiteX6" fmla="*/ 2329572 w 3186822"/>
                  <a:gd name="connsiteY6" fmla="*/ 1933575 h 2752725"/>
                  <a:gd name="connsiteX7" fmla="*/ 3186822 w 3186822"/>
                  <a:gd name="connsiteY7" fmla="*/ 2752725 h 2752725"/>
                  <a:gd name="connsiteX0" fmla="*/ 252538 w 3186238"/>
                  <a:gd name="connsiteY0" fmla="*/ 0 h 2752725"/>
                  <a:gd name="connsiteX1" fmla="*/ 201659 w 3186238"/>
                  <a:gd name="connsiteY1" fmla="*/ 387756 h 2752725"/>
                  <a:gd name="connsiteX2" fmla="*/ 3617 w 3186238"/>
                  <a:gd name="connsiteY2" fmla="*/ 875820 h 2752725"/>
                  <a:gd name="connsiteX3" fmla="*/ 335090 w 3186238"/>
                  <a:gd name="connsiteY3" fmla="*/ 977555 h 2752725"/>
                  <a:gd name="connsiteX4" fmla="*/ 758982 w 3186238"/>
                  <a:gd name="connsiteY4" fmla="*/ 1180459 h 2752725"/>
                  <a:gd name="connsiteX5" fmla="*/ 1557463 w 3186238"/>
                  <a:gd name="connsiteY5" fmla="*/ 1638300 h 2752725"/>
                  <a:gd name="connsiteX6" fmla="*/ 2328988 w 3186238"/>
                  <a:gd name="connsiteY6" fmla="*/ 1933575 h 2752725"/>
                  <a:gd name="connsiteX7" fmla="*/ 3186238 w 3186238"/>
                  <a:gd name="connsiteY7" fmla="*/ 2752725 h 2752725"/>
                  <a:gd name="connsiteX0" fmla="*/ 252713 w 3186413"/>
                  <a:gd name="connsiteY0" fmla="*/ 0 h 2752725"/>
                  <a:gd name="connsiteX1" fmla="*/ 201834 w 3186413"/>
                  <a:gd name="connsiteY1" fmla="*/ 387756 h 2752725"/>
                  <a:gd name="connsiteX2" fmla="*/ 3792 w 3186413"/>
                  <a:gd name="connsiteY2" fmla="*/ 875820 h 2752725"/>
                  <a:gd name="connsiteX3" fmla="*/ 335265 w 3186413"/>
                  <a:gd name="connsiteY3" fmla="*/ 977555 h 2752725"/>
                  <a:gd name="connsiteX4" fmla="*/ 759157 w 3186413"/>
                  <a:gd name="connsiteY4" fmla="*/ 1180459 h 2752725"/>
                  <a:gd name="connsiteX5" fmla="*/ 1557638 w 3186413"/>
                  <a:gd name="connsiteY5" fmla="*/ 1638300 h 2752725"/>
                  <a:gd name="connsiteX6" fmla="*/ 2329163 w 3186413"/>
                  <a:gd name="connsiteY6" fmla="*/ 1933575 h 2752725"/>
                  <a:gd name="connsiteX7" fmla="*/ 3186413 w 3186413"/>
                  <a:gd name="connsiteY7" fmla="*/ 2752725 h 2752725"/>
                  <a:gd name="connsiteX0" fmla="*/ 250974 w 3184674"/>
                  <a:gd name="connsiteY0" fmla="*/ 0 h 2752725"/>
                  <a:gd name="connsiteX1" fmla="*/ 194585 w 3184674"/>
                  <a:gd name="connsiteY1" fmla="*/ 367826 h 2752725"/>
                  <a:gd name="connsiteX2" fmla="*/ 2053 w 3184674"/>
                  <a:gd name="connsiteY2" fmla="*/ 875820 h 2752725"/>
                  <a:gd name="connsiteX3" fmla="*/ 333526 w 3184674"/>
                  <a:gd name="connsiteY3" fmla="*/ 977555 h 2752725"/>
                  <a:gd name="connsiteX4" fmla="*/ 757418 w 3184674"/>
                  <a:gd name="connsiteY4" fmla="*/ 1180459 h 2752725"/>
                  <a:gd name="connsiteX5" fmla="*/ 1555899 w 3184674"/>
                  <a:gd name="connsiteY5" fmla="*/ 1638300 h 2752725"/>
                  <a:gd name="connsiteX6" fmla="*/ 2327424 w 3184674"/>
                  <a:gd name="connsiteY6" fmla="*/ 1933575 h 2752725"/>
                  <a:gd name="connsiteX7" fmla="*/ 3184674 w 3184674"/>
                  <a:gd name="connsiteY7" fmla="*/ 2752725 h 2752725"/>
                  <a:gd name="connsiteX0" fmla="*/ 258211 w 3191911"/>
                  <a:gd name="connsiteY0" fmla="*/ 0 h 2752725"/>
                  <a:gd name="connsiteX1" fmla="*/ 201822 w 3191911"/>
                  <a:gd name="connsiteY1" fmla="*/ 367826 h 2752725"/>
                  <a:gd name="connsiteX2" fmla="*/ 101191 w 3191911"/>
                  <a:gd name="connsiteY2" fmla="*/ 623002 h 2752725"/>
                  <a:gd name="connsiteX3" fmla="*/ 9290 w 3191911"/>
                  <a:gd name="connsiteY3" fmla="*/ 875820 h 2752725"/>
                  <a:gd name="connsiteX4" fmla="*/ 340763 w 3191911"/>
                  <a:gd name="connsiteY4" fmla="*/ 977555 h 2752725"/>
                  <a:gd name="connsiteX5" fmla="*/ 764655 w 3191911"/>
                  <a:gd name="connsiteY5" fmla="*/ 1180459 h 2752725"/>
                  <a:gd name="connsiteX6" fmla="*/ 1563136 w 3191911"/>
                  <a:gd name="connsiteY6" fmla="*/ 1638300 h 2752725"/>
                  <a:gd name="connsiteX7" fmla="*/ 2334661 w 3191911"/>
                  <a:gd name="connsiteY7" fmla="*/ 1933575 h 2752725"/>
                  <a:gd name="connsiteX8" fmla="*/ 3191911 w 3191911"/>
                  <a:gd name="connsiteY8" fmla="*/ 2752725 h 2752725"/>
                  <a:gd name="connsiteX0" fmla="*/ 258211 w 3191911"/>
                  <a:gd name="connsiteY0" fmla="*/ 0 h 2752725"/>
                  <a:gd name="connsiteX1" fmla="*/ 201822 w 3191911"/>
                  <a:gd name="connsiteY1" fmla="*/ 367826 h 2752725"/>
                  <a:gd name="connsiteX2" fmla="*/ 101191 w 3191911"/>
                  <a:gd name="connsiteY2" fmla="*/ 623002 h 2752725"/>
                  <a:gd name="connsiteX3" fmla="*/ 9290 w 3191911"/>
                  <a:gd name="connsiteY3" fmla="*/ 875820 h 2752725"/>
                  <a:gd name="connsiteX4" fmla="*/ 340763 w 3191911"/>
                  <a:gd name="connsiteY4" fmla="*/ 977555 h 2752725"/>
                  <a:gd name="connsiteX5" fmla="*/ 764655 w 3191911"/>
                  <a:gd name="connsiteY5" fmla="*/ 1180459 h 2752725"/>
                  <a:gd name="connsiteX6" fmla="*/ 1563136 w 3191911"/>
                  <a:gd name="connsiteY6" fmla="*/ 1638300 h 2752725"/>
                  <a:gd name="connsiteX7" fmla="*/ 2334661 w 3191911"/>
                  <a:gd name="connsiteY7" fmla="*/ 1933575 h 2752725"/>
                  <a:gd name="connsiteX8" fmla="*/ 3191911 w 3191911"/>
                  <a:gd name="connsiteY8" fmla="*/ 2752725 h 2752725"/>
                  <a:gd name="connsiteX0" fmla="*/ 254775 w 3188475"/>
                  <a:gd name="connsiteY0" fmla="*/ 0 h 2752725"/>
                  <a:gd name="connsiteX1" fmla="*/ 198386 w 3188475"/>
                  <a:gd name="connsiteY1" fmla="*/ 367826 h 2752725"/>
                  <a:gd name="connsiteX2" fmla="*/ 130801 w 3188475"/>
                  <a:gd name="connsiteY2" fmla="*/ 636289 h 2752725"/>
                  <a:gd name="connsiteX3" fmla="*/ 5854 w 3188475"/>
                  <a:gd name="connsiteY3" fmla="*/ 875820 h 2752725"/>
                  <a:gd name="connsiteX4" fmla="*/ 337327 w 3188475"/>
                  <a:gd name="connsiteY4" fmla="*/ 977555 h 2752725"/>
                  <a:gd name="connsiteX5" fmla="*/ 761219 w 3188475"/>
                  <a:gd name="connsiteY5" fmla="*/ 1180459 h 2752725"/>
                  <a:gd name="connsiteX6" fmla="*/ 1559700 w 3188475"/>
                  <a:gd name="connsiteY6" fmla="*/ 1638300 h 2752725"/>
                  <a:gd name="connsiteX7" fmla="*/ 2331225 w 3188475"/>
                  <a:gd name="connsiteY7" fmla="*/ 1933575 h 2752725"/>
                  <a:gd name="connsiteX8" fmla="*/ 3188475 w 3188475"/>
                  <a:gd name="connsiteY8" fmla="*/ 2752725 h 2752725"/>
                  <a:gd name="connsiteX0" fmla="*/ 244210 w 3177910"/>
                  <a:gd name="connsiteY0" fmla="*/ 0 h 2752725"/>
                  <a:gd name="connsiteX1" fmla="*/ 187821 w 3177910"/>
                  <a:gd name="connsiteY1" fmla="*/ 367826 h 2752725"/>
                  <a:gd name="connsiteX2" fmla="*/ 120236 w 3177910"/>
                  <a:gd name="connsiteY2" fmla="*/ 636289 h 2752725"/>
                  <a:gd name="connsiteX3" fmla="*/ 6305 w 3177910"/>
                  <a:gd name="connsiteY3" fmla="*/ 875820 h 2752725"/>
                  <a:gd name="connsiteX4" fmla="*/ 326762 w 3177910"/>
                  <a:gd name="connsiteY4" fmla="*/ 977555 h 2752725"/>
                  <a:gd name="connsiteX5" fmla="*/ 750654 w 3177910"/>
                  <a:gd name="connsiteY5" fmla="*/ 1180459 h 2752725"/>
                  <a:gd name="connsiteX6" fmla="*/ 1549135 w 3177910"/>
                  <a:gd name="connsiteY6" fmla="*/ 1638300 h 2752725"/>
                  <a:gd name="connsiteX7" fmla="*/ 2320660 w 3177910"/>
                  <a:gd name="connsiteY7" fmla="*/ 1933575 h 2752725"/>
                  <a:gd name="connsiteX8" fmla="*/ 3177910 w 3177910"/>
                  <a:gd name="connsiteY8" fmla="*/ 2752725 h 2752725"/>
                  <a:gd name="connsiteX0" fmla="*/ 245856 w 3179556"/>
                  <a:gd name="connsiteY0" fmla="*/ 0 h 2752725"/>
                  <a:gd name="connsiteX1" fmla="*/ 189467 w 3179556"/>
                  <a:gd name="connsiteY1" fmla="*/ 367826 h 2752725"/>
                  <a:gd name="connsiteX2" fmla="*/ 121882 w 3179556"/>
                  <a:gd name="connsiteY2" fmla="*/ 636289 h 2752725"/>
                  <a:gd name="connsiteX3" fmla="*/ 7951 w 3179556"/>
                  <a:gd name="connsiteY3" fmla="*/ 875820 h 2752725"/>
                  <a:gd name="connsiteX4" fmla="*/ 328408 w 3179556"/>
                  <a:gd name="connsiteY4" fmla="*/ 977555 h 2752725"/>
                  <a:gd name="connsiteX5" fmla="*/ 752300 w 3179556"/>
                  <a:gd name="connsiteY5" fmla="*/ 1180459 h 2752725"/>
                  <a:gd name="connsiteX6" fmla="*/ 1550781 w 3179556"/>
                  <a:gd name="connsiteY6" fmla="*/ 1638300 h 2752725"/>
                  <a:gd name="connsiteX7" fmla="*/ 2322306 w 3179556"/>
                  <a:gd name="connsiteY7" fmla="*/ 1933575 h 2752725"/>
                  <a:gd name="connsiteX8" fmla="*/ 3179556 w 3179556"/>
                  <a:gd name="connsiteY8" fmla="*/ 2752725 h 2752725"/>
                  <a:gd name="connsiteX0" fmla="*/ 244210 w 3177910"/>
                  <a:gd name="connsiteY0" fmla="*/ 0 h 2752725"/>
                  <a:gd name="connsiteX1" fmla="*/ 187821 w 3177910"/>
                  <a:gd name="connsiteY1" fmla="*/ 367826 h 2752725"/>
                  <a:gd name="connsiteX2" fmla="*/ 120236 w 3177910"/>
                  <a:gd name="connsiteY2" fmla="*/ 636289 h 2752725"/>
                  <a:gd name="connsiteX3" fmla="*/ 6305 w 3177910"/>
                  <a:gd name="connsiteY3" fmla="*/ 875820 h 2752725"/>
                  <a:gd name="connsiteX4" fmla="*/ 326762 w 3177910"/>
                  <a:gd name="connsiteY4" fmla="*/ 977555 h 2752725"/>
                  <a:gd name="connsiteX5" fmla="*/ 750654 w 3177910"/>
                  <a:gd name="connsiteY5" fmla="*/ 1180459 h 2752725"/>
                  <a:gd name="connsiteX6" fmla="*/ 1549135 w 3177910"/>
                  <a:gd name="connsiteY6" fmla="*/ 1638300 h 2752725"/>
                  <a:gd name="connsiteX7" fmla="*/ 2320660 w 3177910"/>
                  <a:gd name="connsiteY7" fmla="*/ 1933575 h 2752725"/>
                  <a:gd name="connsiteX8" fmla="*/ 3177910 w 3177910"/>
                  <a:gd name="connsiteY8" fmla="*/ 2752725 h 2752725"/>
                  <a:gd name="connsiteX0" fmla="*/ 245915 w 3179615"/>
                  <a:gd name="connsiteY0" fmla="*/ 0 h 2752725"/>
                  <a:gd name="connsiteX1" fmla="*/ 189526 w 3179615"/>
                  <a:gd name="connsiteY1" fmla="*/ 367826 h 2752725"/>
                  <a:gd name="connsiteX2" fmla="*/ 105418 w 3179615"/>
                  <a:gd name="connsiteY2" fmla="*/ 636289 h 2752725"/>
                  <a:gd name="connsiteX3" fmla="*/ 8010 w 3179615"/>
                  <a:gd name="connsiteY3" fmla="*/ 875820 h 2752725"/>
                  <a:gd name="connsiteX4" fmla="*/ 328467 w 3179615"/>
                  <a:gd name="connsiteY4" fmla="*/ 977555 h 2752725"/>
                  <a:gd name="connsiteX5" fmla="*/ 752359 w 3179615"/>
                  <a:gd name="connsiteY5" fmla="*/ 1180459 h 2752725"/>
                  <a:gd name="connsiteX6" fmla="*/ 1550840 w 3179615"/>
                  <a:gd name="connsiteY6" fmla="*/ 1638300 h 2752725"/>
                  <a:gd name="connsiteX7" fmla="*/ 2322365 w 3179615"/>
                  <a:gd name="connsiteY7" fmla="*/ 1933575 h 2752725"/>
                  <a:gd name="connsiteX8" fmla="*/ 3179615 w 3179615"/>
                  <a:gd name="connsiteY8" fmla="*/ 2752725 h 2752725"/>
                  <a:gd name="connsiteX0" fmla="*/ 251101 w 3184801"/>
                  <a:gd name="connsiteY0" fmla="*/ 0 h 2752725"/>
                  <a:gd name="connsiteX1" fmla="*/ 194712 w 3184801"/>
                  <a:gd name="connsiteY1" fmla="*/ 367826 h 2752725"/>
                  <a:gd name="connsiteX2" fmla="*/ 110604 w 3184801"/>
                  <a:gd name="connsiteY2" fmla="*/ 636289 h 2752725"/>
                  <a:gd name="connsiteX3" fmla="*/ 7688 w 3184801"/>
                  <a:gd name="connsiteY3" fmla="*/ 902394 h 2752725"/>
                  <a:gd name="connsiteX4" fmla="*/ 333653 w 3184801"/>
                  <a:gd name="connsiteY4" fmla="*/ 977555 h 2752725"/>
                  <a:gd name="connsiteX5" fmla="*/ 757545 w 3184801"/>
                  <a:gd name="connsiteY5" fmla="*/ 1180459 h 2752725"/>
                  <a:gd name="connsiteX6" fmla="*/ 1556026 w 3184801"/>
                  <a:gd name="connsiteY6" fmla="*/ 1638300 h 2752725"/>
                  <a:gd name="connsiteX7" fmla="*/ 2327551 w 3184801"/>
                  <a:gd name="connsiteY7" fmla="*/ 1933575 h 2752725"/>
                  <a:gd name="connsiteX8" fmla="*/ 3184801 w 3184801"/>
                  <a:gd name="connsiteY8" fmla="*/ 2752725 h 2752725"/>
                  <a:gd name="connsiteX0" fmla="*/ 245187 w 3178887"/>
                  <a:gd name="connsiteY0" fmla="*/ 0 h 2752725"/>
                  <a:gd name="connsiteX1" fmla="*/ 188798 w 3178887"/>
                  <a:gd name="connsiteY1" fmla="*/ 367826 h 2752725"/>
                  <a:gd name="connsiteX2" fmla="*/ 104690 w 3178887"/>
                  <a:gd name="connsiteY2" fmla="*/ 636289 h 2752725"/>
                  <a:gd name="connsiteX3" fmla="*/ 1774 w 3178887"/>
                  <a:gd name="connsiteY3" fmla="*/ 902394 h 2752725"/>
                  <a:gd name="connsiteX4" fmla="*/ 327739 w 3178887"/>
                  <a:gd name="connsiteY4" fmla="*/ 977555 h 2752725"/>
                  <a:gd name="connsiteX5" fmla="*/ 751631 w 3178887"/>
                  <a:gd name="connsiteY5" fmla="*/ 1180459 h 2752725"/>
                  <a:gd name="connsiteX6" fmla="*/ 1550112 w 3178887"/>
                  <a:gd name="connsiteY6" fmla="*/ 1638300 h 2752725"/>
                  <a:gd name="connsiteX7" fmla="*/ 2321637 w 3178887"/>
                  <a:gd name="connsiteY7" fmla="*/ 1933575 h 2752725"/>
                  <a:gd name="connsiteX8" fmla="*/ 3178887 w 3178887"/>
                  <a:gd name="connsiteY8" fmla="*/ 2752725 h 2752725"/>
                  <a:gd name="connsiteX0" fmla="*/ 239784 w 3173484"/>
                  <a:gd name="connsiteY0" fmla="*/ 0 h 2752725"/>
                  <a:gd name="connsiteX1" fmla="*/ 183395 w 3173484"/>
                  <a:gd name="connsiteY1" fmla="*/ 367826 h 2752725"/>
                  <a:gd name="connsiteX2" fmla="*/ 99287 w 3173484"/>
                  <a:gd name="connsiteY2" fmla="*/ 636289 h 2752725"/>
                  <a:gd name="connsiteX3" fmla="*/ 1878 w 3173484"/>
                  <a:gd name="connsiteY3" fmla="*/ 862534 h 2752725"/>
                  <a:gd name="connsiteX4" fmla="*/ 322336 w 3173484"/>
                  <a:gd name="connsiteY4" fmla="*/ 977555 h 2752725"/>
                  <a:gd name="connsiteX5" fmla="*/ 746228 w 3173484"/>
                  <a:gd name="connsiteY5" fmla="*/ 1180459 h 2752725"/>
                  <a:gd name="connsiteX6" fmla="*/ 1544709 w 3173484"/>
                  <a:gd name="connsiteY6" fmla="*/ 1638300 h 2752725"/>
                  <a:gd name="connsiteX7" fmla="*/ 2316234 w 3173484"/>
                  <a:gd name="connsiteY7" fmla="*/ 1933575 h 2752725"/>
                  <a:gd name="connsiteX8" fmla="*/ 3173484 w 3173484"/>
                  <a:gd name="connsiteY8" fmla="*/ 2752725 h 2752725"/>
                  <a:gd name="connsiteX0" fmla="*/ 213034 w 3146734"/>
                  <a:gd name="connsiteY0" fmla="*/ 0 h 2752725"/>
                  <a:gd name="connsiteX1" fmla="*/ 156645 w 3146734"/>
                  <a:gd name="connsiteY1" fmla="*/ 367826 h 2752725"/>
                  <a:gd name="connsiteX2" fmla="*/ 72537 w 3146734"/>
                  <a:gd name="connsiteY2" fmla="*/ 636289 h 2752725"/>
                  <a:gd name="connsiteX3" fmla="*/ 2666 w 3146734"/>
                  <a:gd name="connsiteY3" fmla="*/ 882464 h 2752725"/>
                  <a:gd name="connsiteX4" fmla="*/ 295586 w 3146734"/>
                  <a:gd name="connsiteY4" fmla="*/ 977555 h 2752725"/>
                  <a:gd name="connsiteX5" fmla="*/ 719478 w 3146734"/>
                  <a:gd name="connsiteY5" fmla="*/ 1180459 h 2752725"/>
                  <a:gd name="connsiteX6" fmla="*/ 1517959 w 3146734"/>
                  <a:gd name="connsiteY6" fmla="*/ 1638300 h 2752725"/>
                  <a:gd name="connsiteX7" fmla="*/ 2289484 w 3146734"/>
                  <a:gd name="connsiteY7" fmla="*/ 1933575 h 2752725"/>
                  <a:gd name="connsiteX8" fmla="*/ 3146734 w 3146734"/>
                  <a:gd name="connsiteY8" fmla="*/ 2752725 h 2752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6734" h="2752725">
                    <a:moveTo>
                      <a:pt x="213034" y="0"/>
                    </a:moveTo>
                    <a:cubicBezTo>
                      <a:pt x="186840" y="209550"/>
                      <a:pt x="180061" y="261778"/>
                      <a:pt x="156645" y="367826"/>
                    </a:cubicBezTo>
                    <a:cubicBezTo>
                      <a:pt x="133229" y="473874"/>
                      <a:pt x="104626" y="551623"/>
                      <a:pt x="72537" y="636289"/>
                    </a:cubicBezTo>
                    <a:cubicBezTo>
                      <a:pt x="40448" y="720955"/>
                      <a:pt x="-12477" y="832229"/>
                      <a:pt x="2666" y="882464"/>
                    </a:cubicBezTo>
                    <a:cubicBezTo>
                      <a:pt x="17809" y="932699"/>
                      <a:pt x="176117" y="927889"/>
                      <a:pt x="295586" y="977555"/>
                    </a:cubicBezTo>
                    <a:cubicBezTo>
                      <a:pt x="415055" y="1027221"/>
                      <a:pt x="515749" y="1070335"/>
                      <a:pt x="719478" y="1180459"/>
                    </a:cubicBezTo>
                    <a:cubicBezTo>
                      <a:pt x="923207" y="1290583"/>
                      <a:pt x="1256291" y="1512781"/>
                      <a:pt x="1517959" y="1638300"/>
                    </a:cubicBezTo>
                    <a:cubicBezTo>
                      <a:pt x="1779627" y="1763819"/>
                      <a:pt x="2018022" y="1747838"/>
                      <a:pt x="2289484" y="1933575"/>
                    </a:cubicBezTo>
                    <a:cubicBezTo>
                      <a:pt x="2560946" y="2119312"/>
                      <a:pt x="2853840" y="2436018"/>
                      <a:pt x="3146734" y="2752725"/>
                    </a:cubicBezTo>
                  </a:path>
                </a:pathLst>
              </a:custGeom>
              <a:ln w="38100">
                <a:solidFill>
                  <a:srgbClr val="0070C0"/>
                </a:solidFill>
              </a:ln>
            </p:spPr>
            <p:style>
              <a:lnRef idx="1">
                <a:schemeClr val="accent1"/>
              </a:lnRef>
              <a:fillRef idx="0">
                <a:schemeClr val="accent1"/>
              </a:fillRef>
              <a:effectRef idx="0">
                <a:schemeClr val="accent1"/>
              </a:effectRef>
              <a:fontRef idx="minor">
                <a:schemeClr val="tx1"/>
              </a:fontRef>
            </p:style>
            <p:txBody>
              <a:bodyPr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eaLnBrk="1" hangingPunct="1">
                  <a:defRPr/>
                </a:pPr>
                <a:endParaRPr lang="it-IT"/>
              </a:p>
            </p:txBody>
          </p:sp>
          <p:sp>
            <p:nvSpPr>
              <p:cNvPr id="32" name="Figura a mano libera 25">
                <a:extLst>
                  <a:ext uri="{FF2B5EF4-FFF2-40B4-BE49-F238E27FC236}">
                    <a16:creationId xmlns:a16="http://schemas.microsoft.com/office/drawing/2014/main" id="{33465829-5573-4F5B-9C62-98764FDFFE9E}"/>
                  </a:ext>
                </a:extLst>
              </p:cNvPr>
              <p:cNvSpPr/>
              <p:nvPr/>
            </p:nvSpPr>
            <p:spPr>
              <a:xfrm>
                <a:off x="1270368" y="1841857"/>
                <a:ext cx="3589769" cy="1276260"/>
              </a:xfrm>
              <a:custGeom>
                <a:avLst/>
                <a:gdLst>
                  <a:gd name="connsiteX0" fmla="*/ 3533775 w 3533775"/>
                  <a:gd name="connsiteY0" fmla="*/ 552450 h 1390650"/>
                  <a:gd name="connsiteX1" fmla="*/ 3486150 w 3533775"/>
                  <a:gd name="connsiteY1" fmla="*/ 971550 h 1390650"/>
                  <a:gd name="connsiteX2" fmla="*/ 3305175 w 3533775"/>
                  <a:gd name="connsiteY2" fmla="*/ 1333500 h 1390650"/>
                  <a:gd name="connsiteX3" fmla="*/ 3162300 w 3533775"/>
                  <a:gd name="connsiteY3" fmla="*/ 1314450 h 1390650"/>
                  <a:gd name="connsiteX4" fmla="*/ 2619375 w 3533775"/>
                  <a:gd name="connsiteY4" fmla="*/ 1066800 h 1390650"/>
                  <a:gd name="connsiteX5" fmla="*/ 1914525 w 3533775"/>
                  <a:gd name="connsiteY5" fmla="*/ 876300 h 1390650"/>
                  <a:gd name="connsiteX6" fmla="*/ 1019175 w 3533775"/>
                  <a:gd name="connsiteY6" fmla="*/ 771525 h 1390650"/>
                  <a:gd name="connsiteX7" fmla="*/ 733425 w 3533775"/>
                  <a:gd name="connsiteY7" fmla="*/ 647700 h 1390650"/>
                  <a:gd name="connsiteX8" fmla="*/ 0 w 3533775"/>
                  <a:gd name="connsiteY8" fmla="*/ 0 h 1390650"/>
                  <a:gd name="connsiteX0" fmla="*/ 3533775 w 3533775"/>
                  <a:gd name="connsiteY0" fmla="*/ 492372 h 1304247"/>
                  <a:gd name="connsiteX1" fmla="*/ 3486150 w 3533775"/>
                  <a:gd name="connsiteY1" fmla="*/ 911472 h 1304247"/>
                  <a:gd name="connsiteX2" fmla="*/ 3305175 w 3533775"/>
                  <a:gd name="connsiteY2" fmla="*/ 1273422 h 1304247"/>
                  <a:gd name="connsiteX3" fmla="*/ 3162300 w 3533775"/>
                  <a:gd name="connsiteY3" fmla="*/ 1254372 h 1304247"/>
                  <a:gd name="connsiteX4" fmla="*/ 2619375 w 3533775"/>
                  <a:gd name="connsiteY4" fmla="*/ 1006722 h 1304247"/>
                  <a:gd name="connsiteX5" fmla="*/ 1914525 w 3533775"/>
                  <a:gd name="connsiteY5" fmla="*/ 816222 h 1304247"/>
                  <a:gd name="connsiteX6" fmla="*/ 1019175 w 3533775"/>
                  <a:gd name="connsiteY6" fmla="*/ 711447 h 1304247"/>
                  <a:gd name="connsiteX7" fmla="*/ 733425 w 3533775"/>
                  <a:gd name="connsiteY7" fmla="*/ 587622 h 1304247"/>
                  <a:gd name="connsiteX8" fmla="*/ 0 w 3533775"/>
                  <a:gd name="connsiteY8" fmla="*/ 0 h 1304247"/>
                  <a:gd name="connsiteX0" fmla="*/ 3533775 w 3533775"/>
                  <a:gd name="connsiteY0" fmla="*/ 492372 h 1304247"/>
                  <a:gd name="connsiteX1" fmla="*/ 3486150 w 3533775"/>
                  <a:gd name="connsiteY1" fmla="*/ 911472 h 1304247"/>
                  <a:gd name="connsiteX2" fmla="*/ 3305175 w 3533775"/>
                  <a:gd name="connsiteY2" fmla="*/ 1273422 h 1304247"/>
                  <a:gd name="connsiteX3" fmla="*/ 3162300 w 3533775"/>
                  <a:gd name="connsiteY3" fmla="*/ 1254372 h 1304247"/>
                  <a:gd name="connsiteX4" fmla="*/ 2619375 w 3533775"/>
                  <a:gd name="connsiteY4" fmla="*/ 1006722 h 1304247"/>
                  <a:gd name="connsiteX5" fmla="*/ 1914525 w 3533775"/>
                  <a:gd name="connsiteY5" fmla="*/ 816222 h 1304247"/>
                  <a:gd name="connsiteX6" fmla="*/ 1019175 w 3533775"/>
                  <a:gd name="connsiteY6" fmla="*/ 711447 h 1304247"/>
                  <a:gd name="connsiteX7" fmla="*/ 291812 w 3533775"/>
                  <a:gd name="connsiteY7" fmla="*/ 399423 h 1304247"/>
                  <a:gd name="connsiteX8" fmla="*/ 0 w 3533775"/>
                  <a:gd name="connsiteY8" fmla="*/ 0 h 1304247"/>
                  <a:gd name="connsiteX0" fmla="*/ 3550131 w 3550131"/>
                  <a:gd name="connsiteY0" fmla="*/ 417093 h 1228968"/>
                  <a:gd name="connsiteX1" fmla="*/ 3502506 w 3550131"/>
                  <a:gd name="connsiteY1" fmla="*/ 836193 h 1228968"/>
                  <a:gd name="connsiteX2" fmla="*/ 3321531 w 3550131"/>
                  <a:gd name="connsiteY2" fmla="*/ 1198143 h 1228968"/>
                  <a:gd name="connsiteX3" fmla="*/ 3178656 w 3550131"/>
                  <a:gd name="connsiteY3" fmla="*/ 1179093 h 1228968"/>
                  <a:gd name="connsiteX4" fmla="*/ 2635731 w 3550131"/>
                  <a:gd name="connsiteY4" fmla="*/ 931443 h 1228968"/>
                  <a:gd name="connsiteX5" fmla="*/ 1930881 w 3550131"/>
                  <a:gd name="connsiteY5" fmla="*/ 740943 h 1228968"/>
                  <a:gd name="connsiteX6" fmla="*/ 1035531 w 3550131"/>
                  <a:gd name="connsiteY6" fmla="*/ 636168 h 1228968"/>
                  <a:gd name="connsiteX7" fmla="*/ 308168 w 3550131"/>
                  <a:gd name="connsiteY7" fmla="*/ 324144 h 1228968"/>
                  <a:gd name="connsiteX8" fmla="*/ 0 w 3550131"/>
                  <a:gd name="connsiteY8" fmla="*/ 0 h 1228968"/>
                  <a:gd name="connsiteX0" fmla="*/ 3550131 w 3550131"/>
                  <a:gd name="connsiteY0" fmla="*/ 417093 h 1197759"/>
                  <a:gd name="connsiteX1" fmla="*/ 3502506 w 3550131"/>
                  <a:gd name="connsiteY1" fmla="*/ 836193 h 1197759"/>
                  <a:gd name="connsiteX2" fmla="*/ 3354244 w 3550131"/>
                  <a:gd name="connsiteY2" fmla="*/ 1141684 h 1197759"/>
                  <a:gd name="connsiteX3" fmla="*/ 3178656 w 3550131"/>
                  <a:gd name="connsiteY3" fmla="*/ 1179093 h 1197759"/>
                  <a:gd name="connsiteX4" fmla="*/ 2635731 w 3550131"/>
                  <a:gd name="connsiteY4" fmla="*/ 931443 h 1197759"/>
                  <a:gd name="connsiteX5" fmla="*/ 1930881 w 3550131"/>
                  <a:gd name="connsiteY5" fmla="*/ 740943 h 1197759"/>
                  <a:gd name="connsiteX6" fmla="*/ 1035531 w 3550131"/>
                  <a:gd name="connsiteY6" fmla="*/ 636168 h 1197759"/>
                  <a:gd name="connsiteX7" fmla="*/ 308168 w 3550131"/>
                  <a:gd name="connsiteY7" fmla="*/ 324144 h 1197759"/>
                  <a:gd name="connsiteX8" fmla="*/ 0 w 3550131"/>
                  <a:gd name="connsiteY8" fmla="*/ 0 h 1197759"/>
                  <a:gd name="connsiteX0" fmla="*/ 3550131 w 3550131"/>
                  <a:gd name="connsiteY0" fmla="*/ 417093 h 1195142"/>
                  <a:gd name="connsiteX1" fmla="*/ 3502506 w 3550131"/>
                  <a:gd name="connsiteY1" fmla="*/ 836193 h 1195142"/>
                  <a:gd name="connsiteX2" fmla="*/ 3354244 w 3550131"/>
                  <a:gd name="connsiteY2" fmla="*/ 1134066 h 1195142"/>
                  <a:gd name="connsiteX3" fmla="*/ 3178656 w 3550131"/>
                  <a:gd name="connsiteY3" fmla="*/ 1179093 h 1195142"/>
                  <a:gd name="connsiteX4" fmla="*/ 2635731 w 3550131"/>
                  <a:gd name="connsiteY4" fmla="*/ 931443 h 1195142"/>
                  <a:gd name="connsiteX5" fmla="*/ 1930881 w 3550131"/>
                  <a:gd name="connsiteY5" fmla="*/ 740943 h 1195142"/>
                  <a:gd name="connsiteX6" fmla="*/ 1035531 w 3550131"/>
                  <a:gd name="connsiteY6" fmla="*/ 636168 h 1195142"/>
                  <a:gd name="connsiteX7" fmla="*/ 308168 w 3550131"/>
                  <a:gd name="connsiteY7" fmla="*/ 324144 h 1195142"/>
                  <a:gd name="connsiteX8" fmla="*/ 0 w 3550131"/>
                  <a:gd name="connsiteY8" fmla="*/ 0 h 1195142"/>
                  <a:gd name="connsiteX0" fmla="*/ 3550131 w 3550131"/>
                  <a:gd name="connsiteY0" fmla="*/ 417093 h 1210793"/>
                  <a:gd name="connsiteX1" fmla="*/ 3502506 w 3550131"/>
                  <a:gd name="connsiteY1" fmla="*/ 836193 h 1210793"/>
                  <a:gd name="connsiteX2" fmla="*/ 3354244 w 3550131"/>
                  <a:gd name="connsiteY2" fmla="*/ 1134066 h 1210793"/>
                  <a:gd name="connsiteX3" fmla="*/ 3178656 w 3550131"/>
                  <a:gd name="connsiteY3" fmla="*/ 1179093 h 1210793"/>
                  <a:gd name="connsiteX4" fmla="*/ 2635731 w 3550131"/>
                  <a:gd name="connsiteY4" fmla="*/ 931443 h 1210793"/>
                  <a:gd name="connsiteX5" fmla="*/ 1930881 w 3550131"/>
                  <a:gd name="connsiteY5" fmla="*/ 740943 h 1210793"/>
                  <a:gd name="connsiteX6" fmla="*/ 1035531 w 3550131"/>
                  <a:gd name="connsiteY6" fmla="*/ 636168 h 1210793"/>
                  <a:gd name="connsiteX7" fmla="*/ 308168 w 3550131"/>
                  <a:gd name="connsiteY7" fmla="*/ 324144 h 1210793"/>
                  <a:gd name="connsiteX8" fmla="*/ 0 w 3550131"/>
                  <a:gd name="connsiteY8" fmla="*/ 0 h 1210793"/>
                  <a:gd name="connsiteX0" fmla="*/ 3550131 w 3550131"/>
                  <a:gd name="connsiteY0" fmla="*/ 417093 h 1208126"/>
                  <a:gd name="connsiteX1" fmla="*/ 3502506 w 3550131"/>
                  <a:gd name="connsiteY1" fmla="*/ 836193 h 1208126"/>
                  <a:gd name="connsiteX2" fmla="*/ 3354244 w 3550131"/>
                  <a:gd name="connsiteY2" fmla="*/ 1134066 h 1208126"/>
                  <a:gd name="connsiteX3" fmla="*/ 3178656 w 3550131"/>
                  <a:gd name="connsiteY3" fmla="*/ 1179093 h 1208126"/>
                  <a:gd name="connsiteX4" fmla="*/ 2635731 w 3550131"/>
                  <a:gd name="connsiteY4" fmla="*/ 931443 h 1208126"/>
                  <a:gd name="connsiteX5" fmla="*/ 1930881 w 3550131"/>
                  <a:gd name="connsiteY5" fmla="*/ 740943 h 1208126"/>
                  <a:gd name="connsiteX6" fmla="*/ 1035531 w 3550131"/>
                  <a:gd name="connsiteY6" fmla="*/ 636168 h 1208126"/>
                  <a:gd name="connsiteX7" fmla="*/ 308168 w 3550131"/>
                  <a:gd name="connsiteY7" fmla="*/ 324144 h 1208126"/>
                  <a:gd name="connsiteX8" fmla="*/ 0 w 3550131"/>
                  <a:gd name="connsiteY8" fmla="*/ 0 h 1208126"/>
                  <a:gd name="connsiteX0" fmla="*/ 3550131 w 3550131"/>
                  <a:gd name="connsiteY0" fmla="*/ 417093 h 1216392"/>
                  <a:gd name="connsiteX1" fmla="*/ 3502506 w 3550131"/>
                  <a:gd name="connsiteY1" fmla="*/ 836193 h 1216392"/>
                  <a:gd name="connsiteX2" fmla="*/ 3354244 w 3550131"/>
                  <a:gd name="connsiteY2" fmla="*/ 1134066 h 1216392"/>
                  <a:gd name="connsiteX3" fmla="*/ 3178656 w 3550131"/>
                  <a:gd name="connsiteY3" fmla="*/ 1179093 h 1216392"/>
                  <a:gd name="connsiteX4" fmla="*/ 2635731 w 3550131"/>
                  <a:gd name="connsiteY4" fmla="*/ 931443 h 1216392"/>
                  <a:gd name="connsiteX5" fmla="*/ 1930881 w 3550131"/>
                  <a:gd name="connsiteY5" fmla="*/ 740943 h 1216392"/>
                  <a:gd name="connsiteX6" fmla="*/ 1035531 w 3550131"/>
                  <a:gd name="connsiteY6" fmla="*/ 636168 h 1216392"/>
                  <a:gd name="connsiteX7" fmla="*/ 308168 w 3550131"/>
                  <a:gd name="connsiteY7" fmla="*/ 324144 h 1216392"/>
                  <a:gd name="connsiteX8" fmla="*/ 0 w 3550131"/>
                  <a:gd name="connsiteY8" fmla="*/ 0 h 1216392"/>
                  <a:gd name="connsiteX0" fmla="*/ 3550131 w 3550131"/>
                  <a:gd name="connsiteY0" fmla="*/ 417093 h 1195414"/>
                  <a:gd name="connsiteX1" fmla="*/ 3502507 w 3550131"/>
                  <a:gd name="connsiteY1" fmla="*/ 828572 h 1195414"/>
                  <a:gd name="connsiteX2" fmla="*/ 3354244 w 3550131"/>
                  <a:gd name="connsiteY2" fmla="*/ 1134066 h 1195414"/>
                  <a:gd name="connsiteX3" fmla="*/ 3178656 w 3550131"/>
                  <a:gd name="connsiteY3" fmla="*/ 1179093 h 1195414"/>
                  <a:gd name="connsiteX4" fmla="*/ 2635731 w 3550131"/>
                  <a:gd name="connsiteY4" fmla="*/ 931443 h 1195414"/>
                  <a:gd name="connsiteX5" fmla="*/ 1930881 w 3550131"/>
                  <a:gd name="connsiteY5" fmla="*/ 740943 h 1195414"/>
                  <a:gd name="connsiteX6" fmla="*/ 1035531 w 3550131"/>
                  <a:gd name="connsiteY6" fmla="*/ 636168 h 1195414"/>
                  <a:gd name="connsiteX7" fmla="*/ 308168 w 3550131"/>
                  <a:gd name="connsiteY7" fmla="*/ 324144 h 1195414"/>
                  <a:gd name="connsiteX8" fmla="*/ 0 w 3550131"/>
                  <a:gd name="connsiteY8" fmla="*/ 0 h 1195414"/>
                  <a:gd name="connsiteX0" fmla="*/ 3596486 w 3596486"/>
                  <a:gd name="connsiteY0" fmla="*/ 409472 h 1195414"/>
                  <a:gd name="connsiteX1" fmla="*/ 3502507 w 3596486"/>
                  <a:gd name="connsiteY1" fmla="*/ 828572 h 1195414"/>
                  <a:gd name="connsiteX2" fmla="*/ 3354244 w 3596486"/>
                  <a:gd name="connsiteY2" fmla="*/ 1134066 h 1195414"/>
                  <a:gd name="connsiteX3" fmla="*/ 3178656 w 3596486"/>
                  <a:gd name="connsiteY3" fmla="*/ 1179093 h 1195414"/>
                  <a:gd name="connsiteX4" fmla="*/ 2635731 w 3596486"/>
                  <a:gd name="connsiteY4" fmla="*/ 931443 h 1195414"/>
                  <a:gd name="connsiteX5" fmla="*/ 1930881 w 3596486"/>
                  <a:gd name="connsiteY5" fmla="*/ 740943 h 1195414"/>
                  <a:gd name="connsiteX6" fmla="*/ 1035531 w 3596486"/>
                  <a:gd name="connsiteY6" fmla="*/ 636168 h 1195414"/>
                  <a:gd name="connsiteX7" fmla="*/ 308168 w 3596486"/>
                  <a:gd name="connsiteY7" fmla="*/ 324144 h 1195414"/>
                  <a:gd name="connsiteX8" fmla="*/ 0 w 3596486"/>
                  <a:gd name="connsiteY8" fmla="*/ 0 h 1195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96486" h="1195414">
                    <a:moveTo>
                      <a:pt x="3596486" y="409472"/>
                    </a:moveTo>
                    <a:cubicBezTo>
                      <a:pt x="3591723" y="553934"/>
                      <a:pt x="3542881" y="707806"/>
                      <a:pt x="3502507" y="828572"/>
                    </a:cubicBezTo>
                    <a:cubicBezTo>
                      <a:pt x="3462133" y="949338"/>
                      <a:pt x="3408219" y="1075646"/>
                      <a:pt x="3354244" y="1134066"/>
                    </a:cubicBezTo>
                    <a:cubicBezTo>
                      <a:pt x="3300269" y="1192486"/>
                      <a:pt x="3298408" y="1212863"/>
                      <a:pt x="3178656" y="1179093"/>
                    </a:cubicBezTo>
                    <a:cubicBezTo>
                      <a:pt x="3058904" y="1145323"/>
                      <a:pt x="2843694" y="1004468"/>
                      <a:pt x="2635731" y="931443"/>
                    </a:cubicBezTo>
                    <a:cubicBezTo>
                      <a:pt x="2427769" y="858418"/>
                      <a:pt x="2197581" y="790156"/>
                      <a:pt x="1930881" y="740943"/>
                    </a:cubicBezTo>
                    <a:cubicBezTo>
                      <a:pt x="1664181" y="691731"/>
                      <a:pt x="1305983" y="705635"/>
                      <a:pt x="1035531" y="636168"/>
                    </a:cubicBezTo>
                    <a:cubicBezTo>
                      <a:pt x="765079" y="566702"/>
                      <a:pt x="478031" y="452732"/>
                      <a:pt x="308168" y="324144"/>
                    </a:cubicBezTo>
                    <a:cubicBezTo>
                      <a:pt x="138306" y="195557"/>
                      <a:pt x="281781" y="259556"/>
                      <a:pt x="0" y="0"/>
                    </a:cubicBezTo>
                  </a:path>
                </a:pathLst>
              </a:custGeom>
              <a:ln w="38100">
                <a:solidFill>
                  <a:srgbClr val="C00000"/>
                </a:solidFill>
              </a:ln>
            </p:spPr>
            <p:style>
              <a:lnRef idx="1">
                <a:schemeClr val="accent1"/>
              </a:lnRef>
              <a:fillRef idx="0">
                <a:schemeClr val="accent1"/>
              </a:fillRef>
              <a:effectRef idx="0">
                <a:schemeClr val="accent1"/>
              </a:effectRef>
              <a:fontRef idx="minor">
                <a:schemeClr val="tx1"/>
              </a:fontRef>
            </p:style>
            <p:txBody>
              <a:bodyPr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eaLnBrk="1" hangingPunct="1">
                  <a:defRPr/>
                </a:pPr>
                <a:endParaRPr lang="it-IT"/>
              </a:p>
            </p:txBody>
          </p:sp>
        </p:grpSp>
        <p:sp>
          <p:nvSpPr>
            <p:cNvPr id="71" name="CasellaDiTesto 70">
              <a:extLst>
                <a:ext uri="{FF2B5EF4-FFF2-40B4-BE49-F238E27FC236}">
                  <a16:creationId xmlns:a16="http://schemas.microsoft.com/office/drawing/2014/main" id="{E1295501-01F7-4856-99FB-4B5BFDEB823C}"/>
                </a:ext>
              </a:extLst>
            </p:cNvPr>
            <p:cNvSpPr txBox="1"/>
            <p:nvPr/>
          </p:nvSpPr>
          <p:spPr>
            <a:xfrm>
              <a:off x="8982256" y="3285755"/>
              <a:ext cx="231162" cy="216396"/>
            </a:xfrm>
            <a:prstGeom prst="ellipse">
              <a:avLst/>
            </a:prstGeom>
            <a:noFill/>
            <a:ln w="19050">
              <a:solidFill>
                <a:srgbClr val="008000"/>
              </a:solidFill>
            </a:ln>
          </p:spPr>
          <p:txBody>
            <a:bodyPr wrap="square" lIns="0" tIns="0" rIns="0" bIns="0" anchor="ctr" anchorCtr="0">
              <a:spAutoFit/>
            </a:bodyPr>
            <a:lstStyle/>
            <a:p>
              <a:pPr algn="ctr"/>
              <a:r>
                <a:rPr lang="it-IT" sz="1000" b="1" dirty="0">
                  <a:solidFill>
                    <a:srgbClr val="008000"/>
                  </a:solidFill>
                </a:rPr>
                <a:t>1c</a:t>
              </a:r>
              <a:endParaRPr lang="it-IT" sz="1000" dirty="0">
                <a:solidFill>
                  <a:srgbClr val="008000"/>
                </a:solidFill>
              </a:endParaRPr>
            </a:p>
          </p:txBody>
        </p:sp>
        <p:sp>
          <p:nvSpPr>
            <p:cNvPr id="72" name="CasellaDiTesto 71">
              <a:extLst>
                <a:ext uri="{FF2B5EF4-FFF2-40B4-BE49-F238E27FC236}">
                  <a16:creationId xmlns:a16="http://schemas.microsoft.com/office/drawing/2014/main" id="{38A2AA19-5D08-4453-9FE0-A698E2763627}"/>
                </a:ext>
              </a:extLst>
            </p:cNvPr>
            <p:cNvSpPr txBox="1"/>
            <p:nvPr/>
          </p:nvSpPr>
          <p:spPr>
            <a:xfrm>
              <a:off x="7999447" y="2607403"/>
              <a:ext cx="231162" cy="216396"/>
            </a:xfrm>
            <a:prstGeom prst="ellipse">
              <a:avLst/>
            </a:prstGeom>
            <a:noFill/>
            <a:ln w="19050">
              <a:solidFill>
                <a:srgbClr val="C00000"/>
              </a:solidFill>
            </a:ln>
          </p:spPr>
          <p:txBody>
            <a:bodyPr wrap="square" lIns="0" tIns="0" rIns="0" bIns="0" anchor="ctr" anchorCtr="0">
              <a:spAutoFit/>
            </a:bodyPr>
            <a:lstStyle/>
            <a:p>
              <a:pPr algn="ctr"/>
              <a:r>
                <a:rPr lang="it-IT" sz="1000" b="1" dirty="0">
                  <a:solidFill>
                    <a:srgbClr val="C00000"/>
                  </a:solidFill>
                </a:rPr>
                <a:t>3c</a:t>
              </a:r>
              <a:endParaRPr lang="it-IT" sz="1000" dirty="0">
                <a:solidFill>
                  <a:srgbClr val="C00000"/>
                </a:solidFill>
              </a:endParaRPr>
            </a:p>
          </p:txBody>
        </p:sp>
        <p:sp>
          <p:nvSpPr>
            <p:cNvPr id="73" name="CasellaDiTesto 72">
              <a:extLst>
                <a:ext uri="{FF2B5EF4-FFF2-40B4-BE49-F238E27FC236}">
                  <a16:creationId xmlns:a16="http://schemas.microsoft.com/office/drawing/2014/main" id="{CF41868C-560C-4C55-9B0F-EF2B5C188002}"/>
                </a:ext>
              </a:extLst>
            </p:cNvPr>
            <p:cNvSpPr txBox="1"/>
            <p:nvPr/>
          </p:nvSpPr>
          <p:spPr>
            <a:xfrm>
              <a:off x="10073848" y="3304650"/>
              <a:ext cx="231162" cy="216396"/>
            </a:xfrm>
            <a:prstGeom prst="ellipse">
              <a:avLst/>
            </a:prstGeom>
            <a:noFill/>
            <a:ln w="19050">
              <a:solidFill>
                <a:srgbClr val="0070C0"/>
              </a:solidFill>
            </a:ln>
          </p:spPr>
          <p:txBody>
            <a:bodyPr wrap="square" lIns="0" tIns="0" rIns="0" bIns="0" anchor="ctr" anchorCtr="0">
              <a:spAutoFit/>
            </a:bodyPr>
            <a:lstStyle/>
            <a:p>
              <a:pPr algn="ctr"/>
              <a:r>
                <a:rPr lang="it-IT" sz="1000" b="1" dirty="0">
                  <a:solidFill>
                    <a:srgbClr val="0070C0"/>
                  </a:solidFill>
                </a:rPr>
                <a:t>2b</a:t>
              </a:r>
              <a:endParaRPr lang="it-IT" sz="1000" dirty="0">
                <a:solidFill>
                  <a:srgbClr val="0070C0"/>
                </a:solidFill>
              </a:endParaRPr>
            </a:p>
          </p:txBody>
        </p:sp>
      </p:grpSp>
      <p:grpSp>
        <p:nvGrpSpPr>
          <p:cNvPr id="50" name="Gruppo 49">
            <a:extLst>
              <a:ext uri="{FF2B5EF4-FFF2-40B4-BE49-F238E27FC236}">
                <a16:creationId xmlns:a16="http://schemas.microsoft.com/office/drawing/2014/main" id="{4DCAF095-487D-4F09-A2B4-D27044EB43D7}"/>
              </a:ext>
            </a:extLst>
          </p:cNvPr>
          <p:cNvGrpSpPr/>
          <p:nvPr/>
        </p:nvGrpSpPr>
        <p:grpSpPr>
          <a:xfrm>
            <a:off x="452931" y="1025180"/>
            <a:ext cx="540000" cy="540000"/>
            <a:chOff x="117933" y="891200"/>
            <a:chExt cx="540000" cy="540000"/>
          </a:xfrm>
        </p:grpSpPr>
        <p:pic>
          <p:nvPicPr>
            <p:cNvPr id="51" name="Elemento grafico 50" descr="Tiro a segno contorno">
              <a:extLst>
                <a:ext uri="{FF2B5EF4-FFF2-40B4-BE49-F238E27FC236}">
                  <a16:creationId xmlns:a16="http://schemas.microsoft.com/office/drawing/2014/main" id="{A2130C9C-FF38-41B2-826B-216896AD01C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4700" y="931968"/>
              <a:ext cx="466344" cy="466344"/>
            </a:xfrm>
            <a:prstGeom prst="rect">
              <a:avLst/>
            </a:prstGeom>
          </p:spPr>
        </p:pic>
        <p:sp>
          <p:nvSpPr>
            <p:cNvPr id="52" name="Ovale 51">
              <a:extLst>
                <a:ext uri="{FF2B5EF4-FFF2-40B4-BE49-F238E27FC236}">
                  <a16:creationId xmlns:a16="http://schemas.microsoft.com/office/drawing/2014/main" id="{304556F6-40CC-4C2C-83B1-FAD680212C5F}"/>
                </a:ext>
              </a:extLst>
            </p:cNvPr>
            <p:cNvSpPr/>
            <p:nvPr/>
          </p:nvSpPr>
          <p:spPr>
            <a:xfrm>
              <a:off x="117933" y="891200"/>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grpSp>
      <p:sp>
        <p:nvSpPr>
          <p:cNvPr id="16" name="Rettangolo 15">
            <a:extLst>
              <a:ext uri="{FF2B5EF4-FFF2-40B4-BE49-F238E27FC236}">
                <a16:creationId xmlns:a16="http://schemas.microsoft.com/office/drawing/2014/main" id="{3EE7D7D7-BFA3-4980-B781-3493C0AAB4A1}"/>
              </a:ext>
            </a:extLst>
          </p:cNvPr>
          <p:cNvSpPr/>
          <p:nvPr/>
        </p:nvSpPr>
        <p:spPr>
          <a:xfrm>
            <a:off x="258416" y="825526"/>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0" name="Ovale 19">
            <a:extLst>
              <a:ext uri="{FF2B5EF4-FFF2-40B4-BE49-F238E27FC236}">
                <a16:creationId xmlns:a16="http://schemas.microsoft.com/office/drawing/2014/main" id="{6148009D-D10E-4F68-8B6C-716B9CAEE79E}"/>
              </a:ext>
            </a:extLst>
          </p:cNvPr>
          <p:cNvSpPr/>
          <p:nvPr/>
        </p:nvSpPr>
        <p:spPr>
          <a:xfrm>
            <a:off x="452931" y="1029061"/>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Titolo 6">
            <a:extLst>
              <a:ext uri="{FF2B5EF4-FFF2-40B4-BE49-F238E27FC236}">
                <a16:creationId xmlns:a16="http://schemas.microsoft.com/office/drawing/2014/main" id="{9B3F68B9-F796-4578-AF51-2CA57CE92F9E}"/>
              </a:ext>
            </a:extLst>
          </p:cNvPr>
          <p:cNvSpPr>
            <a:spLocks noGrp="1"/>
          </p:cNvSpPr>
          <p:nvPr>
            <p:ph type="title"/>
          </p:nvPr>
        </p:nvSpPr>
        <p:spPr>
          <a:xfrm>
            <a:off x="258416" y="378749"/>
            <a:ext cx="10515600" cy="418646"/>
          </a:xfrm>
        </p:spPr>
        <p:txBody>
          <a:bodyPr>
            <a:normAutofit fontScale="90000"/>
          </a:bodyPr>
          <a:lstStyle/>
          <a:p>
            <a:r>
              <a:rPr lang="it-IT" sz="3200" b="1" dirty="0"/>
              <a:t>01. Genesi del progetto</a:t>
            </a:r>
          </a:p>
        </p:txBody>
      </p:sp>
      <p:graphicFrame>
        <p:nvGraphicFramePr>
          <p:cNvPr id="4" name="Tabella 4">
            <a:extLst>
              <a:ext uri="{FF2B5EF4-FFF2-40B4-BE49-F238E27FC236}">
                <a16:creationId xmlns:a16="http://schemas.microsoft.com/office/drawing/2014/main" id="{3BB6769A-6EA7-4021-AD41-F619C785ECAD}"/>
              </a:ext>
            </a:extLst>
          </p:cNvPr>
          <p:cNvGraphicFramePr>
            <a:graphicFrameLocks noGrp="1"/>
          </p:cNvGraphicFramePr>
          <p:nvPr>
            <p:extLst>
              <p:ext uri="{D42A27DB-BD31-4B8C-83A1-F6EECF244321}">
                <p14:modId xmlns:p14="http://schemas.microsoft.com/office/powerpoint/2010/main" val="2291714149"/>
              </p:ext>
            </p:extLst>
          </p:nvPr>
        </p:nvGraphicFramePr>
        <p:xfrm>
          <a:off x="701609" y="4360127"/>
          <a:ext cx="5303523" cy="1478698"/>
        </p:xfrm>
        <a:graphic>
          <a:graphicData uri="http://schemas.openxmlformats.org/drawingml/2006/table">
            <a:tbl>
              <a:tblPr firstRow="1" bandRow="1">
                <a:tableStyleId>{5C22544A-7EE6-4342-B048-85BDC9FD1C3A}</a:tableStyleId>
              </a:tblPr>
              <a:tblGrid>
                <a:gridCol w="1677797">
                  <a:extLst>
                    <a:ext uri="{9D8B030D-6E8A-4147-A177-3AD203B41FA5}">
                      <a16:colId xmlns:a16="http://schemas.microsoft.com/office/drawing/2014/main" val="3399626706"/>
                    </a:ext>
                  </a:extLst>
                </a:gridCol>
                <a:gridCol w="1740310">
                  <a:extLst>
                    <a:ext uri="{9D8B030D-6E8A-4147-A177-3AD203B41FA5}">
                      <a16:colId xmlns:a16="http://schemas.microsoft.com/office/drawing/2014/main" val="245268248"/>
                    </a:ext>
                  </a:extLst>
                </a:gridCol>
                <a:gridCol w="914400">
                  <a:extLst>
                    <a:ext uri="{9D8B030D-6E8A-4147-A177-3AD203B41FA5}">
                      <a16:colId xmlns:a16="http://schemas.microsoft.com/office/drawing/2014/main" val="3909842900"/>
                    </a:ext>
                  </a:extLst>
                </a:gridCol>
                <a:gridCol w="971016">
                  <a:extLst>
                    <a:ext uri="{9D8B030D-6E8A-4147-A177-3AD203B41FA5}">
                      <a16:colId xmlns:a16="http://schemas.microsoft.com/office/drawing/2014/main" val="2429279896"/>
                    </a:ext>
                  </a:extLst>
                </a:gridCol>
              </a:tblGrid>
              <a:tr h="248783">
                <a:tc>
                  <a:txBody>
                    <a:bodyPr/>
                    <a:lstStyle/>
                    <a:p>
                      <a:pPr marL="0" algn="ctr" defTabSz="914400" rtl="0" eaLnBrk="1" latinLnBrk="0" hangingPunct="1"/>
                      <a:r>
                        <a:rPr lang="it-IT" sz="1000" b="1" kern="1200" dirty="0">
                          <a:solidFill>
                            <a:schemeClr val="bg1"/>
                          </a:solidFill>
                        </a:rPr>
                        <a:t>Collegamenti</a:t>
                      </a:r>
                      <a:endParaRPr lang="it-IT" sz="1000" b="1" kern="1200" dirty="0">
                        <a:solidFill>
                          <a:schemeClr val="bg1"/>
                        </a:solidFill>
                        <a:latin typeface="+mn-lt"/>
                        <a:ea typeface="+mn-ea"/>
                        <a:cs typeface="+mn-cs"/>
                      </a:endParaRPr>
                    </a:p>
                  </a:txBody>
                  <a:tcPr anchor="ctr"/>
                </a:tc>
                <a:tc>
                  <a:txBody>
                    <a:bodyPr/>
                    <a:lstStyle/>
                    <a:p>
                      <a:pPr marL="0" algn="ctr" defTabSz="914400" rtl="0" eaLnBrk="1" latinLnBrk="0" hangingPunct="1"/>
                      <a:r>
                        <a:rPr lang="it-IT" sz="1000" b="1" kern="1200" dirty="0">
                          <a:solidFill>
                            <a:schemeClr val="bg1"/>
                          </a:solidFill>
                        </a:rPr>
                        <a:t>Tragitti viabilità esistente</a:t>
                      </a:r>
                    </a:p>
                  </a:txBody>
                  <a:tcPr anchor="ctr"/>
                </a:tc>
                <a:tc>
                  <a:txBody>
                    <a:bodyPr/>
                    <a:lstStyle/>
                    <a:p>
                      <a:pPr marL="0" algn="ctr" defTabSz="914400" rtl="0" eaLnBrk="1" latinLnBrk="0" hangingPunct="1"/>
                      <a:r>
                        <a:rPr lang="it-IT" sz="1000" b="1" kern="1200" dirty="0">
                          <a:solidFill>
                            <a:schemeClr val="bg1"/>
                          </a:solidFill>
                        </a:rPr>
                        <a:t>T (</a:t>
                      </a:r>
                      <a:r>
                        <a:rPr lang="it-IT" sz="1000" b="1" kern="1200" dirty="0" err="1">
                          <a:solidFill>
                            <a:schemeClr val="bg1"/>
                          </a:solidFill>
                        </a:rPr>
                        <a:t>min</a:t>
                      </a:r>
                      <a:r>
                        <a:rPr lang="it-IT" sz="1000" b="1" kern="1200" dirty="0">
                          <a:solidFill>
                            <a:schemeClr val="bg1"/>
                          </a:solidFill>
                        </a:rPr>
                        <a:t>)</a:t>
                      </a:r>
                      <a:endParaRPr lang="it-IT" sz="1000" b="1" kern="1200" dirty="0">
                        <a:solidFill>
                          <a:schemeClr val="bg1"/>
                        </a:solidFill>
                        <a:latin typeface="+mn-lt"/>
                        <a:ea typeface="+mn-ea"/>
                        <a:cs typeface="+mn-cs"/>
                      </a:endParaRPr>
                    </a:p>
                  </a:txBody>
                  <a:tcPr anchor="ctr"/>
                </a:tc>
                <a:tc>
                  <a:txBody>
                    <a:bodyPr/>
                    <a:lstStyle/>
                    <a:p>
                      <a:pPr marL="0" algn="ctr" defTabSz="914400" rtl="0" eaLnBrk="1" latinLnBrk="0" hangingPunct="1"/>
                      <a:r>
                        <a:rPr lang="it-IT" sz="1000" b="1" kern="1200" dirty="0">
                          <a:solidFill>
                            <a:schemeClr val="bg1"/>
                          </a:solidFill>
                          <a:latin typeface="+mn-lt"/>
                          <a:ea typeface="+mn-ea"/>
                          <a:cs typeface="+mn-cs"/>
                        </a:rPr>
                        <a:t>Pedaggio</a:t>
                      </a:r>
                    </a:p>
                  </a:txBody>
                  <a:tcPr anchor="ctr"/>
                </a:tc>
                <a:extLst>
                  <a:ext uri="{0D108BD9-81ED-4DB2-BD59-A6C34878D82A}">
                    <a16:rowId xmlns:a16="http://schemas.microsoft.com/office/drawing/2014/main" val="2848448829"/>
                  </a:ext>
                </a:extLst>
              </a:tr>
              <a:tr h="245983">
                <a:tc rowSpan="2">
                  <a:txBody>
                    <a:bodyPr/>
                    <a:lstStyle/>
                    <a:p>
                      <a:pPr algn="ctr"/>
                      <a:r>
                        <a:rPr lang="it-IT" sz="1000" dirty="0"/>
                        <a:t>Moconesi-Rapallo</a:t>
                      </a:r>
                    </a:p>
                  </a:txBody>
                  <a:tcPr anchor="ctr"/>
                </a:tc>
                <a:tc>
                  <a:txBody>
                    <a:bodyPr/>
                    <a:lstStyle/>
                    <a:p>
                      <a:pPr algn="ctr"/>
                      <a:r>
                        <a:rPr lang="it-IT" sz="1000" b="1" dirty="0">
                          <a:solidFill>
                            <a:srgbClr val="00B050"/>
                          </a:solidFill>
                        </a:rPr>
                        <a:t>1a</a:t>
                      </a:r>
                      <a:r>
                        <a:rPr lang="it-IT" sz="1000" dirty="0"/>
                        <a:t>  via SP58</a:t>
                      </a:r>
                    </a:p>
                  </a:txBody>
                  <a:tcPr anchor="ctr"/>
                </a:tc>
                <a:tc>
                  <a:txBody>
                    <a:bodyPr/>
                    <a:lstStyle/>
                    <a:p>
                      <a:pPr algn="ctr"/>
                      <a:r>
                        <a:rPr lang="it-IT" sz="1000" dirty="0"/>
                        <a:t>36</a:t>
                      </a:r>
                    </a:p>
                  </a:txBody>
                  <a:tcPr anchor="ctr"/>
                </a:tc>
                <a:tc>
                  <a:txBody>
                    <a:bodyPr/>
                    <a:lstStyle/>
                    <a:p>
                      <a:pPr algn="ctr"/>
                      <a:r>
                        <a:rPr lang="it-IT" sz="1000" dirty="0"/>
                        <a:t>-</a:t>
                      </a:r>
                    </a:p>
                  </a:txBody>
                  <a:tcPr anchor="ctr"/>
                </a:tc>
                <a:extLst>
                  <a:ext uri="{0D108BD9-81ED-4DB2-BD59-A6C34878D82A}">
                    <a16:rowId xmlns:a16="http://schemas.microsoft.com/office/drawing/2014/main" val="2460957624"/>
                  </a:ext>
                </a:extLst>
              </a:tr>
              <a:tr h="245983">
                <a:tc vMerge="1">
                  <a:txBody>
                    <a:bodyPr/>
                    <a:lstStyle/>
                    <a:p>
                      <a:endParaRPr lang="it-IT"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it-IT" sz="1000" b="1" dirty="0">
                          <a:solidFill>
                            <a:srgbClr val="003300"/>
                          </a:solidFill>
                        </a:rPr>
                        <a:t>1b</a:t>
                      </a:r>
                      <a:r>
                        <a:rPr lang="it-IT" sz="1000" dirty="0"/>
                        <a:t> via Lavagna</a:t>
                      </a:r>
                    </a:p>
                  </a:txBody>
                  <a:tcPr anchor="ctr">
                    <a:solidFill>
                      <a:srgbClr val="CBD3E0"/>
                    </a:solidFill>
                  </a:tcPr>
                </a:tc>
                <a:tc>
                  <a:txBody>
                    <a:bodyPr/>
                    <a:lstStyle/>
                    <a:p>
                      <a:pPr algn="ctr"/>
                      <a:r>
                        <a:rPr lang="it-IT" sz="1000" dirty="0"/>
                        <a:t>47</a:t>
                      </a:r>
                    </a:p>
                  </a:txBody>
                  <a:tcPr anchor="ctr">
                    <a:solidFill>
                      <a:srgbClr val="CBD3E0"/>
                    </a:solidFill>
                  </a:tcPr>
                </a:tc>
                <a:tc>
                  <a:txBody>
                    <a:bodyPr/>
                    <a:lstStyle/>
                    <a:p>
                      <a:pPr algn="ctr"/>
                      <a:r>
                        <a:rPr lang="it-IT" sz="1000" dirty="0"/>
                        <a:t>1,2 €</a:t>
                      </a:r>
                    </a:p>
                  </a:txBody>
                  <a:tcPr anchor="ctr">
                    <a:solidFill>
                      <a:srgbClr val="CBD3E0"/>
                    </a:solidFill>
                  </a:tcPr>
                </a:tc>
                <a:extLst>
                  <a:ext uri="{0D108BD9-81ED-4DB2-BD59-A6C34878D82A}">
                    <a16:rowId xmlns:a16="http://schemas.microsoft.com/office/drawing/2014/main" val="3889953589"/>
                  </a:ext>
                </a:extLst>
              </a:tr>
              <a:tr h="245983">
                <a:tc>
                  <a:txBody>
                    <a:bodyPr/>
                    <a:lstStyle/>
                    <a:p>
                      <a:pPr algn="ctr"/>
                      <a:r>
                        <a:rPr lang="it-IT" sz="1000" dirty="0"/>
                        <a:t>Moconesi Sestri Levante</a:t>
                      </a:r>
                    </a:p>
                  </a:txBody>
                  <a:tcPr anchor="ctr">
                    <a:solidFill>
                      <a:srgbClr val="E7EAF0"/>
                    </a:solidFill>
                  </a:tcPr>
                </a:tc>
                <a:tc>
                  <a:txBody>
                    <a:bodyPr/>
                    <a:lstStyle/>
                    <a:p>
                      <a:pPr marL="0" algn="ctr" defTabSz="914400" rtl="0" eaLnBrk="1" latinLnBrk="0" hangingPunct="1"/>
                      <a:r>
                        <a:rPr lang="it-IT" sz="1000" b="1" kern="1200" dirty="0">
                          <a:solidFill>
                            <a:srgbClr val="004C7B"/>
                          </a:solidFill>
                        </a:rPr>
                        <a:t>2a </a:t>
                      </a:r>
                      <a:r>
                        <a:rPr lang="it-IT" sz="1000" b="0" kern="1200" dirty="0">
                          <a:solidFill>
                            <a:srgbClr val="004C7B"/>
                          </a:solidFill>
                        </a:rPr>
                        <a:t>via Lavagna e SP225</a:t>
                      </a:r>
                      <a:endParaRPr lang="it-IT" sz="1000" b="0" kern="1200" dirty="0">
                        <a:solidFill>
                          <a:srgbClr val="004C7B"/>
                        </a:solidFill>
                        <a:latin typeface="+mn-lt"/>
                        <a:ea typeface="+mn-ea"/>
                        <a:cs typeface="+mn-cs"/>
                      </a:endParaRPr>
                    </a:p>
                  </a:txBody>
                  <a:tcPr anchor="ctr">
                    <a:solidFill>
                      <a:srgbClr val="E7EAF0"/>
                    </a:solidFill>
                  </a:tcPr>
                </a:tc>
                <a:tc>
                  <a:txBody>
                    <a:bodyPr/>
                    <a:lstStyle/>
                    <a:p>
                      <a:pPr algn="ctr"/>
                      <a:r>
                        <a:rPr lang="it-IT" sz="1000" dirty="0"/>
                        <a:t>30</a:t>
                      </a:r>
                    </a:p>
                  </a:txBody>
                  <a:tcPr anchor="ctr">
                    <a:solidFill>
                      <a:srgbClr val="E7EAF0"/>
                    </a:solidFill>
                  </a:tcPr>
                </a:tc>
                <a:tc>
                  <a:txBody>
                    <a:bodyPr/>
                    <a:lstStyle/>
                    <a:p>
                      <a:pPr algn="ctr"/>
                      <a:r>
                        <a:rPr lang="it-IT" sz="1000" dirty="0"/>
                        <a:t>0,8 €</a:t>
                      </a:r>
                    </a:p>
                  </a:txBody>
                  <a:tcPr anchor="ctr">
                    <a:solidFill>
                      <a:srgbClr val="E7EAF0"/>
                    </a:solidFill>
                  </a:tcPr>
                </a:tc>
                <a:extLst>
                  <a:ext uri="{0D108BD9-81ED-4DB2-BD59-A6C34878D82A}">
                    <a16:rowId xmlns:a16="http://schemas.microsoft.com/office/drawing/2014/main" val="3787392920"/>
                  </a:ext>
                </a:extLst>
              </a:tr>
              <a:tr h="245983">
                <a:tc rowSpan="2">
                  <a:txBody>
                    <a:bodyPr/>
                    <a:lstStyle/>
                    <a:p>
                      <a:pPr algn="ctr"/>
                      <a:r>
                        <a:rPr lang="it-IT" sz="1000" dirty="0"/>
                        <a:t>Moconesi-Genova Est</a:t>
                      </a:r>
                    </a:p>
                  </a:txBody>
                  <a:tcPr anchor="ctr">
                    <a:solidFill>
                      <a:srgbClr val="CBD3E0"/>
                    </a:solidFill>
                  </a:tcPr>
                </a:tc>
                <a:tc>
                  <a:txBody>
                    <a:bodyPr/>
                    <a:lstStyle/>
                    <a:p>
                      <a:pPr algn="ctr"/>
                      <a:r>
                        <a:rPr lang="it-IT" sz="1000" b="1" dirty="0">
                          <a:solidFill>
                            <a:srgbClr val="F0720A"/>
                          </a:solidFill>
                        </a:rPr>
                        <a:t>3a</a:t>
                      </a:r>
                      <a:r>
                        <a:rPr lang="it-IT" sz="1000" dirty="0"/>
                        <a:t> via tunnel Ferriere</a:t>
                      </a:r>
                    </a:p>
                  </a:txBody>
                  <a:tcPr anchor="ctr">
                    <a:solidFill>
                      <a:srgbClr val="CBD3E0"/>
                    </a:solidFill>
                  </a:tcPr>
                </a:tc>
                <a:tc>
                  <a:txBody>
                    <a:bodyPr/>
                    <a:lstStyle/>
                    <a:p>
                      <a:pPr algn="ctr"/>
                      <a:r>
                        <a:rPr lang="it-IT" sz="1000" dirty="0"/>
                        <a:t>52</a:t>
                      </a:r>
                    </a:p>
                  </a:txBody>
                  <a:tcPr anchor="ctr">
                    <a:solidFill>
                      <a:srgbClr val="CBD3E0"/>
                    </a:solidFill>
                  </a:tcPr>
                </a:tc>
                <a:tc>
                  <a:txBody>
                    <a:bodyPr/>
                    <a:lstStyle/>
                    <a:p>
                      <a:pPr algn="ctr"/>
                      <a:r>
                        <a:rPr lang="it-IT" sz="1000" dirty="0"/>
                        <a:t>-</a:t>
                      </a:r>
                    </a:p>
                  </a:txBody>
                  <a:tcPr anchor="ctr">
                    <a:solidFill>
                      <a:srgbClr val="CBD3E0"/>
                    </a:solidFill>
                  </a:tcPr>
                </a:tc>
                <a:extLst>
                  <a:ext uri="{0D108BD9-81ED-4DB2-BD59-A6C34878D82A}">
                    <a16:rowId xmlns:a16="http://schemas.microsoft.com/office/drawing/2014/main" val="3075422243"/>
                  </a:ext>
                </a:extLst>
              </a:tr>
              <a:tr h="245983">
                <a:tc vMerge="1">
                  <a:txBody>
                    <a:bodyPr/>
                    <a:lstStyle/>
                    <a:p>
                      <a:endParaRPr lang="it-IT"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it-IT" sz="1000" b="1" dirty="0">
                          <a:solidFill>
                            <a:srgbClr val="FCA60C"/>
                          </a:solidFill>
                        </a:rPr>
                        <a:t>3b</a:t>
                      </a:r>
                      <a:r>
                        <a:rPr lang="it-IT" sz="1000" dirty="0"/>
                        <a:t> via A12 Lavagna</a:t>
                      </a:r>
                    </a:p>
                  </a:txBody>
                  <a:tcPr anchor="ctr">
                    <a:solidFill>
                      <a:srgbClr val="CBD3E0"/>
                    </a:solidFill>
                  </a:tcPr>
                </a:tc>
                <a:tc>
                  <a:txBody>
                    <a:bodyPr/>
                    <a:lstStyle/>
                    <a:p>
                      <a:pPr algn="ctr"/>
                      <a:r>
                        <a:rPr lang="it-IT" sz="1000" dirty="0"/>
                        <a:t>58</a:t>
                      </a:r>
                    </a:p>
                  </a:txBody>
                  <a:tcPr anchor="ctr">
                    <a:solidFill>
                      <a:srgbClr val="CBD3E0"/>
                    </a:solidFill>
                  </a:tcPr>
                </a:tc>
                <a:tc>
                  <a:txBody>
                    <a:bodyPr/>
                    <a:lstStyle/>
                    <a:p>
                      <a:pPr algn="ctr"/>
                      <a:r>
                        <a:rPr lang="it-IT" sz="1000" dirty="0"/>
                        <a:t>3,2 €</a:t>
                      </a:r>
                    </a:p>
                  </a:txBody>
                  <a:tcPr anchor="ctr">
                    <a:solidFill>
                      <a:srgbClr val="CBD3E0"/>
                    </a:solidFill>
                  </a:tcPr>
                </a:tc>
                <a:extLst>
                  <a:ext uri="{0D108BD9-81ED-4DB2-BD59-A6C34878D82A}">
                    <a16:rowId xmlns:a16="http://schemas.microsoft.com/office/drawing/2014/main" val="1596708554"/>
                  </a:ext>
                </a:extLst>
              </a:tr>
            </a:tbl>
          </a:graphicData>
        </a:graphic>
      </p:graphicFrame>
      <p:sp>
        <p:nvSpPr>
          <p:cNvPr id="34" name="Segnaposto contenuto 2">
            <a:extLst>
              <a:ext uri="{FF2B5EF4-FFF2-40B4-BE49-F238E27FC236}">
                <a16:creationId xmlns:a16="http://schemas.microsoft.com/office/drawing/2014/main" id="{166BC9EB-C18E-49E4-B2A0-24B6883BB4B1}"/>
              </a:ext>
            </a:extLst>
          </p:cNvPr>
          <p:cNvSpPr txBox="1">
            <a:spLocks/>
          </p:cNvSpPr>
          <p:nvPr/>
        </p:nvSpPr>
        <p:spPr bwMode="auto">
          <a:xfrm>
            <a:off x="6341613" y="3939637"/>
            <a:ext cx="5281249" cy="35601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defPPr>
              <a:defRPr lang="it-IT"/>
            </a:defPPr>
            <a:lvl1pPr indent="0">
              <a:lnSpc>
                <a:spcPct val="160000"/>
              </a:lnSpc>
              <a:spcBef>
                <a:spcPts val="0"/>
              </a:spcBef>
              <a:spcAft>
                <a:spcPts val="1200"/>
              </a:spcAft>
              <a:buFont typeface="Arial" panose="020B0604020202020204" pitchFamily="34" charset="0"/>
              <a:buNone/>
              <a:defRPr sz="1400" b="1">
                <a:solidFill>
                  <a:schemeClr val="accent6">
                    <a:lumMod val="10000"/>
                  </a:schemeClr>
                </a:solidFill>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it-IT" altLang="it-IT" dirty="0"/>
              <a:t>Tragitti nuova viabilità</a:t>
            </a:r>
          </a:p>
        </p:txBody>
      </p:sp>
      <p:sp>
        <p:nvSpPr>
          <p:cNvPr id="33" name="Segnaposto contenuto 2">
            <a:extLst>
              <a:ext uri="{FF2B5EF4-FFF2-40B4-BE49-F238E27FC236}">
                <a16:creationId xmlns:a16="http://schemas.microsoft.com/office/drawing/2014/main" id="{EA747B79-8A00-4BEC-A8E0-7D1AF0996992}"/>
              </a:ext>
            </a:extLst>
          </p:cNvPr>
          <p:cNvSpPr txBox="1">
            <a:spLocks/>
          </p:cNvSpPr>
          <p:nvPr/>
        </p:nvSpPr>
        <p:spPr>
          <a:xfrm>
            <a:off x="494027" y="1292547"/>
            <a:ext cx="10989426" cy="3106898"/>
          </a:xfrm>
          <a:prstGeom prst="rect">
            <a:avLst/>
          </a:prstGeom>
        </p:spPr>
        <p:txBody>
          <a:bodyPr vert="horz" lIns="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it-IT" sz="1200" dirty="0">
              <a:solidFill>
                <a:srgbClr val="000000"/>
              </a:solidFill>
            </a:endParaRPr>
          </a:p>
        </p:txBody>
      </p:sp>
      <p:grpSp>
        <p:nvGrpSpPr>
          <p:cNvPr id="8" name="Gruppo 7">
            <a:extLst>
              <a:ext uri="{FF2B5EF4-FFF2-40B4-BE49-F238E27FC236}">
                <a16:creationId xmlns:a16="http://schemas.microsoft.com/office/drawing/2014/main" id="{BBD3DB7A-1EE5-4636-9B9D-B96B6EEF5A60}"/>
              </a:ext>
            </a:extLst>
          </p:cNvPr>
          <p:cNvGrpSpPr/>
          <p:nvPr/>
        </p:nvGrpSpPr>
        <p:grpSpPr>
          <a:xfrm>
            <a:off x="709876" y="1664549"/>
            <a:ext cx="5281248" cy="2607414"/>
            <a:chOff x="709876" y="1964925"/>
            <a:chExt cx="5281248" cy="2607414"/>
          </a:xfrm>
        </p:grpSpPr>
        <p:grpSp>
          <p:nvGrpSpPr>
            <p:cNvPr id="3" name="Gruppo 2">
              <a:extLst>
                <a:ext uri="{FF2B5EF4-FFF2-40B4-BE49-F238E27FC236}">
                  <a16:creationId xmlns:a16="http://schemas.microsoft.com/office/drawing/2014/main" id="{41CDBAC9-7831-4525-94CE-EC674438A745}"/>
                </a:ext>
              </a:extLst>
            </p:cNvPr>
            <p:cNvGrpSpPr/>
            <p:nvPr/>
          </p:nvGrpSpPr>
          <p:grpSpPr>
            <a:xfrm>
              <a:off x="709876" y="1964925"/>
              <a:ext cx="5281248" cy="2607414"/>
              <a:chOff x="1070769" y="1923399"/>
              <a:chExt cx="9549891" cy="4109077"/>
            </a:xfrm>
          </p:grpSpPr>
          <p:pic>
            <p:nvPicPr>
              <p:cNvPr id="41" name="Picture 1">
                <a:extLst>
                  <a:ext uri="{FF2B5EF4-FFF2-40B4-BE49-F238E27FC236}">
                    <a16:creationId xmlns:a16="http://schemas.microsoft.com/office/drawing/2014/main" id="{292C456E-0F72-416D-960E-6829051B73E1}"/>
                  </a:ext>
                </a:extLst>
              </p:cNvPr>
              <p:cNvPicPr>
                <a:picLocks noChangeAspect="1" noChangeArrowheads="1"/>
              </p:cNvPicPr>
              <p:nvPr/>
            </p:nvPicPr>
            <p:blipFill rotWithShape="1">
              <a:blip r:embed="rId3">
                <a:lum bright="10000"/>
                <a:grayscl/>
                <a:extLst>
                  <a:ext uri="{28A0092B-C50C-407E-A947-70E740481C1C}">
                    <a14:useLocalDpi xmlns:a14="http://schemas.microsoft.com/office/drawing/2010/main" val="0"/>
                  </a:ext>
                </a:extLst>
              </a:blip>
              <a:srcRect t="30198" r="2047" b="2895"/>
              <a:stretch/>
            </p:blipFill>
            <p:spPr bwMode="auto">
              <a:xfrm>
                <a:off x="1070769" y="1923399"/>
                <a:ext cx="9549891" cy="410907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42" name="Figura a mano libera 72">
                <a:extLst>
                  <a:ext uri="{FF2B5EF4-FFF2-40B4-BE49-F238E27FC236}">
                    <a16:creationId xmlns:a16="http://schemas.microsoft.com/office/drawing/2014/main" id="{17A59CC7-B78D-4602-A373-F4F974B4FE2B}"/>
                  </a:ext>
                </a:extLst>
              </p:cNvPr>
              <p:cNvSpPr/>
              <p:nvPr/>
            </p:nvSpPr>
            <p:spPr bwMode="auto">
              <a:xfrm>
                <a:off x="6670748" y="3075559"/>
                <a:ext cx="576306" cy="855195"/>
              </a:xfrm>
              <a:custGeom>
                <a:avLst/>
                <a:gdLst>
                  <a:gd name="connsiteX0" fmla="*/ 0 w 658812"/>
                  <a:gd name="connsiteY0" fmla="*/ 0 h 1257300"/>
                  <a:gd name="connsiteX1" fmla="*/ 619125 w 658812"/>
                  <a:gd name="connsiteY1" fmla="*/ 361950 h 1257300"/>
                  <a:gd name="connsiteX2" fmla="*/ 238125 w 658812"/>
                  <a:gd name="connsiteY2" fmla="*/ 1257300 h 1257300"/>
                  <a:gd name="connsiteX0" fmla="*/ 0 w 811752"/>
                  <a:gd name="connsiteY0" fmla="*/ 0 h 1379077"/>
                  <a:gd name="connsiteX1" fmla="*/ 806894 w 811752"/>
                  <a:gd name="connsiteY1" fmla="*/ 483727 h 1379077"/>
                  <a:gd name="connsiteX2" fmla="*/ 425894 w 811752"/>
                  <a:gd name="connsiteY2" fmla="*/ 1379077 h 1379077"/>
                  <a:gd name="connsiteX0" fmla="*/ 0 w 845301"/>
                  <a:gd name="connsiteY0" fmla="*/ 0 h 1379077"/>
                  <a:gd name="connsiteX1" fmla="*/ 841030 w 845301"/>
                  <a:gd name="connsiteY1" fmla="*/ 448935 h 1379077"/>
                  <a:gd name="connsiteX2" fmla="*/ 425894 w 845301"/>
                  <a:gd name="connsiteY2" fmla="*/ 1379077 h 1379077"/>
                  <a:gd name="connsiteX0" fmla="*/ 0 w 845301"/>
                  <a:gd name="connsiteY0" fmla="*/ 0 h 1379077"/>
                  <a:gd name="connsiteX1" fmla="*/ 841030 w 845301"/>
                  <a:gd name="connsiteY1" fmla="*/ 448935 h 1379077"/>
                  <a:gd name="connsiteX2" fmla="*/ 425894 w 845301"/>
                  <a:gd name="connsiteY2" fmla="*/ 1379077 h 1379077"/>
                  <a:gd name="connsiteX0" fmla="*/ 0 w 844840"/>
                  <a:gd name="connsiteY0" fmla="*/ 0 h 1466060"/>
                  <a:gd name="connsiteX1" fmla="*/ 841030 w 844840"/>
                  <a:gd name="connsiteY1" fmla="*/ 448935 h 1466060"/>
                  <a:gd name="connsiteX2" fmla="*/ 391754 w 844840"/>
                  <a:gd name="connsiteY2" fmla="*/ 1466060 h 1466060"/>
                </a:gdLst>
                <a:ahLst/>
                <a:cxnLst>
                  <a:cxn ang="0">
                    <a:pos x="connsiteX0" y="connsiteY0"/>
                  </a:cxn>
                  <a:cxn ang="0">
                    <a:pos x="connsiteX1" y="connsiteY1"/>
                  </a:cxn>
                  <a:cxn ang="0">
                    <a:pos x="connsiteX2" y="connsiteY2"/>
                  </a:cxn>
                </a:cxnLst>
                <a:rect l="l" t="t" r="r" b="b"/>
                <a:pathLst>
                  <a:path w="844840" h="1466060">
                    <a:moveTo>
                      <a:pt x="0" y="0"/>
                    </a:moveTo>
                    <a:cubicBezTo>
                      <a:pt x="289719" y="76200"/>
                      <a:pt x="784273" y="187196"/>
                      <a:pt x="841030" y="448935"/>
                    </a:cubicBezTo>
                    <a:cubicBezTo>
                      <a:pt x="880717" y="658485"/>
                      <a:pt x="602097" y="1123160"/>
                      <a:pt x="391754" y="1466060"/>
                    </a:cubicBezTo>
                  </a:path>
                </a:pathLst>
              </a:custGeom>
              <a:ln w="38100">
                <a:solidFill>
                  <a:srgbClr val="00B050"/>
                </a:solidFill>
              </a:ln>
            </p:spPr>
            <p:style>
              <a:lnRef idx="1">
                <a:schemeClr val="accent1"/>
              </a:lnRef>
              <a:fillRef idx="0">
                <a:schemeClr val="accent1"/>
              </a:fillRef>
              <a:effectRef idx="0">
                <a:schemeClr val="accent1"/>
              </a:effectRef>
              <a:fontRef idx="minor">
                <a:schemeClr val="tx1"/>
              </a:fontRef>
            </p:style>
            <p:txBody>
              <a:bodyPr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eaLnBrk="1" hangingPunct="1">
                  <a:defRPr/>
                </a:pPr>
                <a:endParaRPr lang="it-IT"/>
              </a:p>
            </p:txBody>
          </p:sp>
          <p:sp>
            <p:nvSpPr>
              <p:cNvPr id="43" name="Figura a mano libera 73">
                <a:extLst>
                  <a:ext uri="{FF2B5EF4-FFF2-40B4-BE49-F238E27FC236}">
                    <a16:creationId xmlns:a16="http://schemas.microsoft.com/office/drawing/2014/main" id="{D0BFCAA9-E78D-4550-9D4F-E60E46D14329}"/>
                  </a:ext>
                </a:extLst>
              </p:cNvPr>
              <p:cNvSpPr/>
              <p:nvPr/>
            </p:nvSpPr>
            <p:spPr bwMode="auto">
              <a:xfrm>
                <a:off x="6686391" y="3007281"/>
                <a:ext cx="2267267" cy="1478437"/>
              </a:xfrm>
              <a:custGeom>
                <a:avLst/>
                <a:gdLst>
                  <a:gd name="connsiteX0" fmla="*/ 266700 w 1665288"/>
                  <a:gd name="connsiteY0" fmla="*/ 0 h 1717675"/>
                  <a:gd name="connsiteX1" fmla="*/ 619125 w 1665288"/>
                  <a:gd name="connsiteY1" fmla="*/ 333375 h 1717675"/>
                  <a:gd name="connsiteX2" fmla="*/ 1447800 w 1665288"/>
                  <a:gd name="connsiteY2" fmla="*/ 838200 h 1717675"/>
                  <a:gd name="connsiteX3" fmla="*/ 1647825 w 1665288"/>
                  <a:gd name="connsiteY3" fmla="*/ 1295400 h 1717675"/>
                  <a:gd name="connsiteX4" fmla="*/ 1552575 w 1665288"/>
                  <a:gd name="connsiteY4" fmla="*/ 1657350 h 1717675"/>
                  <a:gd name="connsiteX5" fmla="*/ 1323975 w 1665288"/>
                  <a:gd name="connsiteY5" fmla="*/ 1657350 h 1717675"/>
                  <a:gd name="connsiteX6" fmla="*/ 781050 w 1665288"/>
                  <a:gd name="connsiteY6" fmla="*/ 1466850 h 1717675"/>
                  <a:gd name="connsiteX7" fmla="*/ 0 w 1665288"/>
                  <a:gd name="connsiteY7" fmla="*/ 1019175 h 1717675"/>
                  <a:gd name="connsiteX0" fmla="*/ 0 w 1917323"/>
                  <a:gd name="connsiteY0" fmla="*/ 0 h 1991255"/>
                  <a:gd name="connsiteX1" fmla="*/ 885487 w 1917323"/>
                  <a:gd name="connsiteY1" fmla="*/ 631956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461012 w 1917323"/>
                  <a:gd name="connsiteY1" fmla="*/ 304940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461012 w 1917323"/>
                  <a:gd name="connsiteY1" fmla="*/ 304940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461012 w 1917323"/>
                  <a:gd name="connsiteY1" fmla="*/ 304940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372168 w 1917323"/>
                  <a:gd name="connsiteY1" fmla="*/ 219632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372168 w 1917323"/>
                  <a:gd name="connsiteY1" fmla="*/ 575086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411653 w 1917323"/>
                  <a:gd name="connsiteY1" fmla="*/ 248069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411653 w 1917323"/>
                  <a:gd name="connsiteY1" fmla="*/ 248069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421524 w 1917323"/>
                  <a:gd name="connsiteY1" fmla="*/ 233849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421524 w 1917323"/>
                  <a:gd name="connsiteY1" fmla="*/ 233849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421524 w 1917323"/>
                  <a:gd name="connsiteY1" fmla="*/ 233849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421524 w 1917323"/>
                  <a:gd name="connsiteY1" fmla="*/ 233849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421524 w 1917323"/>
                  <a:gd name="connsiteY1" fmla="*/ 233849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17323"/>
                  <a:gd name="connsiteY0" fmla="*/ 0 h 1991255"/>
                  <a:gd name="connsiteX1" fmla="*/ 421524 w 1917323"/>
                  <a:gd name="connsiteY1" fmla="*/ 233849 h 1991255"/>
                  <a:gd name="connsiteX2" fmla="*/ 1714162 w 1917323"/>
                  <a:gd name="connsiteY2" fmla="*/ 1136781 h 1991255"/>
                  <a:gd name="connsiteX3" fmla="*/ 1914187 w 1917323"/>
                  <a:gd name="connsiteY3" fmla="*/ 1593981 h 1991255"/>
                  <a:gd name="connsiteX4" fmla="*/ 1818937 w 1917323"/>
                  <a:gd name="connsiteY4" fmla="*/ 1955931 h 1991255"/>
                  <a:gd name="connsiteX5" fmla="*/ 1590337 w 1917323"/>
                  <a:gd name="connsiteY5" fmla="*/ 1955931 h 1991255"/>
                  <a:gd name="connsiteX6" fmla="*/ 1047412 w 1917323"/>
                  <a:gd name="connsiteY6" fmla="*/ 1765431 h 1991255"/>
                  <a:gd name="connsiteX7" fmla="*/ 266362 w 1917323"/>
                  <a:gd name="connsiteY7" fmla="*/ 1317756 h 1991255"/>
                  <a:gd name="connsiteX0" fmla="*/ 0 w 1923256"/>
                  <a:gd name="connsiteY0" fmla="*/ 0 h 1991255"/>
                  <a:gd name="connsiteX1" fmla="*/ 421524 w 1923256"/>
                  <a:gd name="connsiteY1" fmla="*/ 233849 h 1991255"/>
                  <a:gd name="connsiteX2" fmla="*/ 1605576 w 1923256"/>
                  <a:gd name="connsiteY2" fmla="*/ 1193651 h 1991255"/>
                  <a:gd name="connsiteX3" fmla="*/ 1914187 w 1923256"/>
                  <a:gd name="connsiteY3" fmla="*/ 1593981 h 1991255"/>
                  <a:gd name="connsiteX4" fmla="*/ 1818937 w 1923256"/>
                  <a:gd name="connsiteY4" fmla="*/ 1955931 h 1991255"/>
                  <a:gd name="connsiteX5" fmla="*/ 1590337 w 1923256"/>
                  <a:gd name="connsiteY5" fmla="*/ 1955931 h 1991255"/>
                  <a:gd name="connsiteX6" fmla="*/ 1047412 w 1923256"/>
                  <a:gd name="connsiteY6" fmla="*/ 1765431 h 1991255"/>
                  <a:gd name="connsiteX7" fmla="*/ 266362 w 1923256"/>
                  <a:gd name="connsiteY7" fmla="*/ 1317756 h 1991255"/>
                  <a:gd name="connsiteX0" fmla="*/ 0 w 1920949"/>
                  <a:gd name="connsiteY0" fmla="*/ 0 h 1991255"/>
                  <a:gd name="connsiteX1" fmla="*/ 421524 w 1920949"/>
                  <a:gd name="connsiteY1" fmla="*/ 233849 h 1991255"/>
                  <a:gd name="connsiteX2" fmla="*/ 1645062 w 1920949"/>
                  <a:gd name="connsiteY2" fmla="*/ 1094124 h 1991255"/>
                  <a:gd name="connsiteX3" fmla="*/ 1914187 w 1920949"/>
                  <a:gd name="connsiteY3" fmla="*/ 1593981 h 1991255"/>
                  <a:gd name="connsiteX4" fmla="*/ 1818937 w 1920949"/>
                  <a:gd name="connsiteY4" fmla="*/ 1955931 h 1991255"/>
                  <a:gd name="connsiteX5" fmla="*/ 1590337 w 1920949"/>
                  <a:gd name="connsiteY5" fmla="*/ 1955931 h 1991255"/>
                  <a:gd name="connsiteX6" fmla="*/ 1047412 w 1920949"/>
                  <a:gd name="connsiteY6" fmla="*/ 1765431 h 1991255"/>
                  <a:gd name="connsiteX7" fmla="*/ 266362 w 1920949"/>
                  <a:gd name="connsiteY7" fmla="*/ 1317756 h 1991255"/>
                  <a:gd name="connsiteX0" fmla="*/ 0 w 1920949"/>
                  <a:gd name="connsiteY0" fmla="*/ 0 h 1991255"/>
                  <a:gd name="connsiteX1" fmla="*/ 421524 w 1920949"/>
                  <a:gd name="connsiteY1" fmla="*/ 233849 h 1991255"/>
                  <a:gd name="connsiteX2" fmla="*/ 1645062 w 1920949"/>
                  <a:gd name="connsiteY2" fmla="*/ 1094124 h 1991255"/>
                  <a:gd name="connsiteX3" fmla="*/ 1914187 w 1920949"/>
                  <a:gd name="connsiteY3" fmla="*/ 1593981 h 1991255"/>
                  <a:gd name="connsiteX4" fmla="*/ 1818937 w 1920949"/>
                  <a:gd name="connsiteY4" fmla="*/ 1955931 h 1991255"/>
                  <a:gd name="connsiteX5" fmla="*/ 1590337 w 1920949"/>
                  <a:gd name="connsiteY5" fmla="*/ 1955931 h 1991255"/>
                  <a:gd name="connsiteX6" fmla="*/ 1047412 w 1920949"/>
                  <a:gd name="connsiteY6" fmla="*/ 1765431 h 1991255"/>
                  <a:gd name="connsiteX7" fmla="*/ 266362 w 1920949"/>
                  <a:gd name="connsiteY7" fmla="*/ 1317756 h 1991255"/>
                  <a:gd name="connsiteX0" fmla="*/ 0 w 1920949"/>
                  <a:gd name="connsiteY0" fmla="*/ 0 h 1991255"/>
                  <a:gd name="connsiteX1" fmla="*/ 421524 w 1920949"/>
                  <a:gd name="connsiteY1" fmla="*/ 233849 h 1991255"/>
                  <a:gd name="connsiteX2" fmla="*/ 1645062 w 1920949"/>
                  <a:gd name="connsiteY2" fmla="*/ 1094124 h 1991255"/>
                  <a:gd name="connsiteX3" fmla="*/ 1914187 w 1920949"/>
                  <a:gd name="connsiteY3" fmla="*/ 1593981 h 1991255"/>
                  <a:gd name="connsiteX4" fmla="*/ 1818937 w 1920949"/>
                  <a:gd name="connsiteY4" fmla="*/ 1955931 h 1991255"/>
                  <a:gd name="connsiteX5" fmla="*/ 1590337 w 1920949"/>
                  <a:gd name="connsiteY5" fmla="*/ 1955931 h 1991255"/>
                  <a:gd name="connsiteX6" fmla="*/ 1047412 w 1920949"/>
                  <a:gd name="connsiteY6" fmla="*/ 1765431 h 1991255"/>
                  <a:gd name="connsiteX7" fmla="*/ 266362 w 1920949"/>
                  <a:gd name="connsiteY7" fmla="*/ 1317756 h 1991255"/>
                  <a:gd name="connsiteX0" fmla="*/ 0 w 1920949"/>
                  <a:gd name="connsiteY0" fmla="*/ 0 h 1991255"/>
                  <a:gd name="connsiteX1" fmla="*/ 421524 w 1920949"/>
                  <a:gd name="connsiteY1" fmla="*/ 233849 h 1991255"/>
                  <a:gd name="connsiteX2" fmla="*/ 1645062 w 1920949"/>
                  <a:gd name="connsiteY2" fmla="*/ 1094124 h 1991255"/>
                  <a:gd name="connsiteX3" fmla="*/ 1914187 w 1920949"/>
                  <a:gd name="connsiteY3" fmla="*/ 1593981 h 1991255"/>
                  <a:gd name="connsiteX4" fmla="*/ 1818937 w 1920949"/>
                  <a:gd name="connsiteY4" fmla="*/ 1955931 h 1991255"/>
                  <a:gd name="connsiteX5" fmla="*/ 1590337 w 1920949"/>
                  <a:gd name="connsiteY5" fmla="*/ 1955931 h 1991255"/>
                  <a:gd name="connsiteX6" fmla="*/ 1047412 w 1920949"/>
                  <a:gd name="connsiteY6" fmla="*/ 1765431 h 1991255"/>
                  <a:gd name="connsiteX7" fmla="*/ 266362 w 1920949"/>
                  <a:gd name="connsiteY7" fmla="*/ 1317756 h 1991255"/>
                  <a:gd name="connsiteX0" fmla="*/ 0 w 1928196"/>
                  <a:gd name="connsiteY0" fmla="*/ 0 h 2023789"/>
                  <a:gd name="connsiteX1" fmla="*/ 421524 w 1928196"/>
                  <a:gd name="connsiteY1" fmla="*/ 233849 h 2023789"/>
                  <a:gd name="connsiteX2" fmla="*/ 1645062 w 1928196"/>
                  <a:gd name="connsiteY2" fmla="*/ 1094124 h 2023789"/>
                  <a:gd name="connsiteX3" fmla="*/ 1914187 w 1928196"/>
                  <a:gd name="connsiteY3" fmla="*/ 1593981 h 2023789"/>
                  <a:gd name="connsiteX4" fmla="*/ 1858584 w 1928196"/>
                  <a:gd name="connsiteY4" fmla="*/ 1999150 h 2023789"/>
                  <a:gd name="connsiteX5" fmla="*/ 1590337 w 1928196"/>
                  <a:gd name="connsiteY5" fmla="*/ 1955931 h 2023789"/>
                  <a:gd name="connsiteX6" fmla="*/ 1047412 w 1928196"/>
                  <a:gd name="connsiteY6" fmla="*/ 1765431 h 2023789"/>
                  <a:gd name="connsiteX7" fmla="*/ 266362 w 1928196"/>
                  <a:gd name="connsiteY7" fmla="*/ 1317756 h 2023789"/>
                  <a:gd name="connsiteX0" fmla="*/ 0 w 1928194"/>
                  <a:gd name="connsiteY0" fmla="*/ 0 h 2023789"/>
                  <a:gd name="connsiteX1" fmla="*/ 421524 w 1928194"/>
                  <a:gd name="connsiteY1" fmla="*/ 205038 h 2023789"/>
                  <a:gd name="connsiteX2" fmla="*/ 1645062 w 1928194"/>
                  <a:gd name="connsiteY2" fmla="*/ 1094124 h 2023789"/>
                  <a:gd name="connsiteX3" fmla="*/ 1914187 w 1928194"/>
                  <a:gd name="connsiteY3" fmla="*/ 1593981 h 2023789"/>
                  <a:gd name="connsiteX4" fmla="*/ 1858584 w 1928194"/>
                  <a:gd name="connsiteY4" fmla="*/ 1999150 h 2023789"/>
                  <a:gd name="connsiteX5" fmla="*/ 1590337 w 1928194"/>
                  <a:gd name="connsiteY5" fmla="*/ 1955931 h 2023789"/>
                  <a:gd name="connsiteX6" fmla="*/ 1047412 w 1928194"/>
                  <a:gd name="connsiteY6" fmla="*/ 1765431 h 2023789"/>
                  <a:gd name="connsiteX7" fmla="*/ 266362 w 1928194"/>
                  <a:gd name="connsiteY7" fmla="*/ 1317756 h 2023789"/>
                  <a:gd name="connsiteX0" fmla="*/ 0 w 1928196"/>
                  <a:gd name="connsiteY0" fmla="*/ 0 h 2023789"/>
                  <a:gd name="connsiteX1" fmla="*/ 421524 w 1928196"/>
                  <a:gd name="connsiteY1" fmla="*/ 205038 h 2023789"/>
                  <a:gd name="connsiteX2" fmla="*/ 1645062 w 1928196"/>
                  <a:gd name="connsiteY2" fmla="*/ 1094124 h 2023789"/>
                  <a:gd name="connsiteX3" fmla="*/ 1914187 w 1928196"/>
                  <a:gd name="connsiteY3" fmla="*/ 1593981 h 2023789"/>
                  <a:gd name="connsiteX4" fmla="*/ 1858584 w 1928196"/>
                  <a:gd name="connsiteY4" fmla="*/ 1999150 h 2023789"/>
                  <a:gd name="connsiteX5" fmla="*/ 1590337 w 1928196"/>
                  <a:gd name="connsiteY5" fmla="*/ 1955931 h 2023789"/>
                  <a:gd name="connsiteX6" fmla="*/ 1047412 w 1928196"/>
                  <a:gd name="connsiteY6" fmla="*/ 1765431 h 2023789"/>
                  <a:gd name="connsiteX7" fmla="*/ 266362 w 1928196"/>
                  <a:gd name="connsiteY7" fmla="*/ 1317756 h 2023789"/>
                  <a:gd name="connsiteX0" fmla="*/ 0 w 1928194"/>
                  <a:gd name="connsiteY0" fmla="*/ 0 h 2023789"/>
                  <a:gd name="connsiteX1" fmla="*/ 421524 w 1928194"/>
                  <a:gd name="connsiteY1" fmla="*/ 205038 h 2023789"/>
                  <a:gd name="connsiteX2" fmla="*/ 1645062 w 1928194"/>
                  <a:gd name="connsiteY2" fmla="*/ 1094124 h 2023789"/>
                  <a:gd name="connsiteX3" fmla="*/ 1914187 w 1928194"/>
                  <a:gd name="connsiteY3" fmla="*/ 1593981 h 2023789"/>
                  <a:gd name="connsiteX4" fmla="*/ 1858584 w 1928194"/>
                  <a:gd name="connsiteY4" fmla="*/ 1999150 h 2023789"/>
                  <a:gd name="connsiteX5" fmla="*/ 1590337 w 1928194"/>
                  <a:gd name="connsiteY5" fmla="*/ 1955931 h 2023789"/>
                  <a:gd name="connsiteX6" fmla="*/ 1047412 w 1928194"/>
                  <a:gd name="connsiteY6" fmla="*/ 1765431 h 2023789"/>
                  <a:gd name="connsiteX7" fmla="*/ 266362 w 1928194"/>
                  <a:gd name="connsiteY7" fmla="*/ 1317756 h 2023789"/>
                  <a:gd name="connsiteX0" fmla="*/ 0 w 1928196"/>
                  <a:gd name="connsiteY0" fmla="*/ 0 h 2023789"/>
                  <a:gd name="connsiteX1" fmla="*/ 480992 w 1928196"/>
                  <a:gd name="connsiteY1" fmla="*/ 205038 h 2023789"/>
                  <a:gd name="connsiteX2" fmla="*/ 1645062 w 1928196"/>
                  <a:gd name="connsiteY2" fmla="*/ 1094124 h 2023789"/>
                  <a:gd name="connsiteX3" fmla="*/ 1914187 w 1928196"/>
                  <a:gd name="connsiteY3" fmla="*/ 1593981 h 2023789"/>
                  <a:gd name="connsiteX4" fmla="*/ 1858584 w 1928196"/>
                  <a:gd name="connsiteY4" fmla="*/ 1999150 h 2023789"/>
                  <a:gd name="connsiteX5" fmla="*/ 1590337 w 1928196"/>
                  <a:gd name="connsiteY5" fmla="*/ 1955931 h 2023789"/>
                  <a:gd name="connsiteX6" fmla="*/ 1047412 w 1928196"/>
                  <a:gd name="connsiteY6" fmla="*/ 1765431 h 2023789"/>
                  <a:gd name="connsiteX7" fmla="*/ 266362 w 1928196"/>
                  <a:gd name="connsiteY7" fmla="*/ 1317756 h 2023789"/>
                  <a:gd name="connsiteX0" fmla="*/ 0 w 1928194"/>
                  <a:gd name="connsiteY0" fmla="*/ 0 h 2023789"/>
                  <a:gd name="connsiteX1" fmla="*/ 480992 w 1928194"/>
                  <a:gd name="connsiteY1" fmla="*/ 205038 h 2023789"/>
                  <a:gd name="connsiteX2" fmla="*/ 1645062 w 1928194"/>
                  <a:gd name="connsiteY2" fmla="*/ 1094124 h 2023789"/>
                  <a:gd name="connsiteX3" fmla="*/ 1914187 w 1928194"/>
                  <a:gd name="connsiteY3" fmla="*/ 1593981 h 2023789"/>
                  <a:gd name="connsiteX4" fmla="*/ 1858584 w 1928194"/>
                  <a:gd name="connsiteY4" fmla="*/ 1999150 h 2023789"/>
                  <a:gd name="connsiteX5" fmla="*/ 1590337 w 1928194"/>
                  <a:gd name="connsiteY5" fmla="*/ 1955931 h 2023789"/>
                  <a:gd name="connsiteX6" fmla="*/ 1047412 w 1928194"/>
                  <a:gd name="connsiteY6" fmla="*/ 1765431 h 2023789"/>
                  <a:gd name="connsiteX7" fmla="*/ 266362 w 1928194"/>
                  <a:gd name="connsiteY7" fmla="*/ 1317756 h 2023789"/>
                  <a:gd name="connsiteX0" fmla="*/ 0 w 1928196"/>
                  <a:gd name="connsiteY0" fmla="*/ 0 h 2023789"/>
                  <a:gd name="connsiteX1" fmla="*/ 480992 w 1928196"/>
                  <a:gd name="connsiteY1" fmla="*/ 205038 h 2023789"/>
                  <a:gd name="connsiteX2" fmla="*/ 1645062 w 1928196"/>
                  <a:gd name="connsiteY2" fmla="*/ 1094124 h 2023789"/>
                  <a:gd name="connsiteX3" fmla="*/ 1914187 w 1928196"/>
                  <a:gd name="connsiteY3" fmla="*/ 1593981 h 2023789"/>
                  <a:gd name="connsiteX4" fmla="*/ 1858584 w 1928196"/>
                  <a:gd name="connsiteY4" fmla="*/ 1999150 h 2023789"/>
                  <a:gd name="connsiteX5" fmla="*/ 1590337 w 1928196"/>
                  <a:gd name="connsiteY5" fmla="*/ 1955931 h 2023789"/>
                  <a:gd name="connsiteX6" fmla="*/ 1047412 w 1928196"/>
                  <a:gd name="connsiteY6" fmla="*/ 1765431 h 2023789"/>
                  <a:gd name="connsiteX7" fmla="*/ 266362 w 1928196"/>
                  <a:gd name="connsiteY7" fmla="*/ 1317756 h 2023789"/>
                  <a:gd name="connsiteX0" fmla="*/ 0 w 1938105"/>
                  <a:gd name="connsiteY0" fmla="*/ 0 h 2052603"/>
                  <a:gd name="connsiteX1" fmla="*/ 490903 w 1938105"/>
                  <a:gd name="connsiteY1" fmla="*/ 233852 h 2052603"/>
                  <a:gd name="connsiteX2" fmla="*/ 1654973 w 1938105"/>
                  <a:gd name="connsiteY2" fmla="*/ 1122938 h 2052603"/>
                  <a:gd name="connsiteX3" fmla="*/ 1924098 w 1938105"/>
                  <a:gd name="connsiteY3" fmla="*/ 1622795 h 2052603"/>
                  <a:gd name="connsiteX4" fmla="*/ 1868495 w 1938105"/>
                  <a:gd name="connsiteY4" fmla="*/ 2027964 h 2052603"/>
                  <a:gd name="connsiteX5" fmla="*/ 1600248 w 1938105"/>
                  <a:gd name="connsiteY5" fmla="*/ 1984745 h 2052603"/>
                  <a:gd name="connsiteX6" fmla="*/ 1057323 w 1938105"/>
                  <a:gd name="connsiteY6" fmla="*/ 1794245 h 2052603"/>
                  <a:gd name="connsiteX7" fmla="*/ 276273 w 1938105"/>
                  <a:gd name="connsiteY7" fmla="*/ 1346570 h 2052603"/>
                  <a:gd name="connsiteX0" fmla="*/ 0 w 1938107"/>
                  <a:gd name="connsiteY0" fmla="*/ 0 h 2052603"/>
                  <a:gd name="connsiteX1" fmla="*/ 471080 w 1938107"/>
                  <a:gd name="connsiteY1" fmla="*/ 406732 h 2052603"/>
                  <a:gd name="connsiteX2" fmla="*/ 1654973 w 1938107"/>
                  <a:gd name="connsiteY2" fmla="*/ 1122938 h 2052603"/>
                  <a:gd name="connsiteX3" fmla="*/ 1924098 w 1938107"/>
                  <a:gd name="connsiteY3" fmla="*/ 1622795 h 2052603"/>
                  <a:gd name="connsiteX4" fmla="*/ 1868495 w 1938107"/>
                  <a:gd name="connsiteY4" fmla="*/ 2027964 h 2052603"/>
                  <a:gd name="connsiteX5" fmla="*/ 1600248 w 1938107"/>
                  <a:gd name="connsiteY5" fmla="*/ 1984745 h 2052603"/>
                  <a:gd name="connsiteX6" fmla="*/ 1057323 w 1938107"/>
                  <a:gd name="connsiteY6" fmla="*/ 1794245 h 2052603"/>
                  <a:gd name="connsiteX7" fmla="*/ 276273 w 1938107"/>
                  <a:gd name="connsiteY7" fmla="*/ 1346570 h 2052603"/>
                  <a:gd name="connsiteX0" fmla="*/ 0 w 1938105"/>
                  <a:gd name="connsiteY0" fmla="*/ 0 h 2052603"/>
                  <a:gd name="connsiteX1" fmla="*/ 471080 w 1938105"/>
                  <a:gd name="connsiteY1" fmla="*/ 406732 h 2052603"/>
                  <a:gd name="connsiteX2" fmla="*/ 1654973 w 1938105"/>
                  <a:gd name="connsiteY2" fmla="*/ 1122938 h 2052603"/>
                  <a:gd name="connsiteX3" fmla="*/ 1924098 w 1938105"/>
                  <a:gd name="connsiteY3" fmla="*/ 1622795 h 2052603"/>
                  <a:gd name="connsiteX4" fmla="*/ 1868495 w 1938105"/>
                  <a:gd name="connsiteY4" fmla="*/ 2027964 h 2052603"/>
                  <a:gd name="connsiteX5" fmla="*/ 1600248 w 1938105"/>
                  <a:gd name="connsiteY5" fmla="*/ 1984745 h 2052603"/>
                  <a:gd name="connsiteX6" fmla="*/ 1057323 w 1938105"/>
                  <a:gd name="connsiteY6" fmla="*/ 1794245 h 2052603"/>
                  <a:gd name="connsiteX7" fmla="*/ 276273 w 1938105"/>
                  <a:gd name="connsiteY7" fmla="*/ 1346570 h 2052603"/>
                  <a:gd name="connsiteX0" fmla="*/ 0 w 1938107"/>
                  <a:gd name="connsiteY0" fmla="*/ 0 h 2052603"/>
                  <a:gd name="connsiteX1" fmla="*/ 500814 w 1938107"/>
                  <a:gd name="connsiteY1" fmla="*/ 349107 h 2052603"/>
                  <a:gd name="connsiteX2" fmla="*/ 1654973 w 1938107"/>
                  <a:gd name="connsiteY2" fmla="*/ 1122938 h 2052603"/>
                  <a:gd name="connsiteX3" fmla="*/ 1924098 w 1938107"/>
                  <a:gd name="connsiteY3" fmla="*/ 1622795 h 2052603"/>
                  <a:gd name="connsiteX4" fmla="*/ 1868495 w 1938107"/>
                  <a:gd name="connsiteY4" fmla="*/ 2027964 h 2052603"/>
                  <a:gd name="connsiteX5" fmla="*/ 1600248 w 1938107"/>
                  <a:gd name="connsiteY5" fmla="*/ 1984745 h 2052603"/>
                  <a:gd name="connsiteX6" fmla="*/ 1057323 w 1938107"/>
                  <a:gd name="connsiteY6" fmla="*/ 1794245 h 2052603"/>
                  <a:gd name="connsiteX7" fmla="*/ 276273 w 1938107"/>
                  <a:gd name="connsiteY7" fmla="*/ 1346570 h 2052603"/>
                  <a:gd name="connsiteX0" fmla="*/ 0 w 1938105"/>
                  <a:gd name="connsiteY0" fmla="*/ 0 h 2052603"/>
                  <a:gd name="connsiteX1" fmla="*/ 520636 w 1938105"/>
                  <a:gd name="connsiteY1" fmla="*/ 305885 h 2052603"/>
                  <a:gd name="connsiteX2" fmla="*/ 1654973 w 1938105"/>
                  <a:gd name="connsiteY2" fmla="*/ 1122938 h 2052603"/>
                  <a:gd name="connsiteX3" fmla="*/ 1924098 w 1938105"/>
                  <a:gd name="connsiteY3" fmla="*/ 1622795 h 2052603"/>
                  <a:gd name="connsiteX4" fmla="*/ 1868495 w 1938105"/>
                  <a:gd name="connsiteY4" fmla="*/ 2027964 h 2052603"/>
                  <a:gd name="connsiteX5" fmla="*/ 1600248 w 1938105"/>
                  <a:gd name="connsiteY5" fmla="*/ 1984745 h 2052603"/>
                  <a:gd name="connsiteX6" fmla="*/ 1057323 w 1938105"/>
                  <a:gd name="connsiteY6" fmla="*/ 1794245 h 2052603"/>
                  <a:gd name="connsiteX7" fmla="*/ 276273 w 1938105"/>
                  <a:gd name="connsiteY7" fmla="*/ 1346570 h 2052603"/>
                  <a:gd name="connsiteX0" fmla="*/ 0 w 1929906"/>
                  <a:gd name="connsiteY0" fmla="*/ 0 h 2064246"/>
                  <a:gd name="connsiteX1" fmla="*/ 520636 w 1929906"/>
                  <a:gd name="connsiteY1" fmla="*/ 305885 h 2064246"/>
                  <a:gd name="connsiteX2" fmla="*/ 1654973 w 1929906"/>
                  <a:gd name="connsiteY2" fmla="*/ 1122938 h 2064246"/>
                  <a:gd name="connsiteX3" fmla="*/ 1914187 w 1929906"/>
                  <a:gd name="connsiteY3" fmla="*/ 1464322 h 2064246"/>
                  <a:gd name="connsiteX4" fmla="*/ 1868495 w 1929906"/>
                  <a:gd name="connsiteY4" fmla="*/ 2027964 h 2064246"/>
                  <a:gd name="connsiteX5" fmla="*/ 1600248 w 1929906"/>
                  <a:gd name="connsiteY5" fmla="*/ 1984745 h 2064246"/>
                  <a:gd name="connsiteX6" fmla="*/ 1057323 w 1929906"/>
                  <a:gd name="connsiteY6" fmla="*/ 1794245 h 2064246"/>
                  <a:gd name="connsiteX7" fmla="*/ 276273 w 1929906"/>
                  <a:gd name="connsiteY7" fmla="*/ 1346570 h 2064246"/>
                  <a:gd name="connsiteX0" fmla="*/ 0 w 1929904"/>
                  <a:gd name="connsiteY0" fmla="*/ 0 h 2064246"/>
                  <a:gd name="connsiteX1" fmla="*/ 520636 w 1929904"/>
                  <a:gd name="connsiteY1" fmla="*/ 305885 h 2064246"/>
                  <a:gd name="connsiteX2" fmla="*/ 1654973 w 1929904"/>
                  <a:gd name="connsiteY2" fmla="*/ 1122938 h 2064246"/>
                  <a:gd name="connsiteX3" fmla="*/ 1914187 w 1929904"/>
                  <a:gd name="connsiteY3" fmla="*/ 1464322 h 2064246"/>
                  <a:gd name="connsiteX4" fmla="*/ 1868495 w 1929904"/>
                  <a:gd name="connsiteY4" fmla="*/ 2027964 h 2064246"/>
                  <a:gd name="connsiteX5" fmla="*/ 1600248 w 1929904"/>
                  <a:gd name="connsiteY5" fmla="*/ 1984745 h 2064246"/>
                  <a:gd name="connsiteX6" fmla="*/ 1057323 w 1929904"/>
                  <a:gd name="connsiteY6" fmla="*/ 1794245 h 2064246"/>
                  <a:gd name="connsiteX7" fmla="*/ 276273 w 1929904"/>
                  <a:gd name="connsiteY7" fmla="*/ 1303349 h 2064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9904" h="2064246">
                    <a:moveTo>
                      <a:pt x="0" y="0"/>
                    </a:moveTo>
                    <a:cubicBezTo>
                      <a:pt x="77787" y="96837"/>
                      <a:pt x="324100" y="61102"/>
                      <a:pt x="520636" y="305885"/>
                    </a:cubicBezTo>
                    <a:cubicBezTo>
                      <a:pt x="717172" y="550668"/>
                      <a:pt x="1422715" y="929865"/>
                      <a:pt x="1654973" y="1122938"/>
                    </a:cubicBezTo>
                    <a:cubicBezTo>
                      <a:pt x="1887232" y="1316011"/>
                      <a:pt x="1878600" y="1313484"/>
                      <a:pt x="1914187" y="1464322"/>
                    </a:cubicBezTo>
                    <a:cubicBezTo>
                      <a:pt x="1949774" y="1615160"/>
                      <a:pt x="1920818" y="1941227"/>
                      <a:pt x="1868495" y="2027964"/>
                    </a:cubicBezTo>
                    <a:cubicBezTo>
                      <a:pt x="1816172" y="2114701"/>
                      <a:pt x="1735443" y="2023698"/>
                      <a:pt x="1600248" y="1984745"/>
                    </a:cubicBezTo>
                    <a:cubicBezTo>
                      <a:pt x="1465053" y="1945792"/>
                      <a:pt x="1277985" y="1900607"/>
                      <a:pt x="1057323" y="1794245"/>
                    </a:cubicBezTo>
                    <a:cubicBezTo>
                      <a:pt x="836661" y="1687883"/>
                      <a:pt x="556467" y="1474005"/>
                      <a:pt x="276273" y="1303349"/>
                    </a:cubicBezTo>
                  </a:path>
                </a:pathLst>
              </a:custGeom>
              <a:ln w="38100">
                <a:solidFill>
                  <a:srgbClr val="003300"/>
                </a:solidFill>
              </a:ln>
            </p:spPr>
            <p:style>
              <a:lnRef idx="1">
                <a:schemeClr val="accent1"/>
              </a:lnRef>
              <a:fillRef idx="0">
                <a:schemeClr val="accent1"/>
              </a:fillRef>
              <a:effectRef idx="0">
                <a:schemeClr val="accent1"/>
              </a:effectRef>
              <a:fontRef idx="minor">
                <a:schemeClr val="tx1"/>
              </a:fontRef>
            </p:style>
            <p:txBody>
              <a:bodyPr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eaLnBrk="1" hangingPunct="1">
                  <a:defRPr/>
                </a:pPr>
                <a:endParaRPr lang="it-IT"/>
              </a:p>
            </p:txBody>
          </p:sp>
          <p:sp>
            <p:nvSpPr>
              <p:cNvPr id="44" name="Figura a mano libera 74">
                <a:extLst>
                  <a:ext uri="{FF2B5EF4-FFF2-40B4-BE49-F238E27FC236}">
                    <a16:creationId xmlns:a16="http://schemas.microsoft.com/office/drawing/2014/main" id="{F027AC37-6573-4F01-89F2-F79545BAAFAC}"/>
                  </a:ext>
                </a:extLst>
              </p:cNvPr>
              <p:cNvSpPr/>
              <p:nvPr/>
            </p:nvSpPr>
            <p:spPr bwMode="auto">
              <a:xfrm>
                <a:off x="1984595" y="2152957"/>
                <a:ext cx="4515057" cy="673055"/>
              </a:xfrm>
              <a:custGeom>
                <a:avLst/>
                <a:gdLst>
                  <a:gd name="connsiteX0" fmla="*/ 3724275 w 3724275"/>
                  <a:gd name="connsiteY0" fmla="*/ 776287 h 776287"/>
                  <a:gd name="connsiteX1" fmla="*/ 2781300 w 3724275"/>
                  <a:gd name="connsiteY1" fmla="*/ 357187 h 776287"/>
                  <a:gd name="connsiteX2" fmla="*/ 2438400 w 3724275"/>
                  <a:gd name="connsiteY2" fmla="*/ 471487 h 776287"/>
                  <a:gd name="connsiteX3" fmla="*/ 2076450 w 3724275"/>
                  <a:gd name="connsiteY3" fmla="*/ 300037 h 776287"/>
                  <a:gd name="connsiteX4" fmla="*/ 1676400 w 3724275"/>
                  <a:gd name="connsiteY4" fmla="*/ 385762 h 776287"/>
                  <a:gd name="connsiteX5" fmla="*/ 1171575 w 3724275"/>
                  <a:gd name="connsiteY5" fmla="*/ 166687 h 776287"/>
                  <a:gd name="connsiteX6" fmla="*/ 771525 w 3724275"/>
                  <a:gd name="connsiteY6" fmla="*/ 185737 h 776287"/>
                  <a:gd name="connsiteX7" fmla="*/ 438150 w 3724275"/>
                  <a:gd name="connsiteY7" fmla="*/ 61912 h 776287"/>
                  <a:gd name="connsiteX8" fmla="*/ 0 w 3724275"/>
                  <a:gd name="connsiteY8" fmla="*/ 557212 h 77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24275" h="776287">
                    <a:moveTo>
                      <a:pt x="3724275" y="776287"/>
                    </a:moveTo>
                    <a:cubicBezTo>
                      <a:pt x="3359944" y="592137"/>
                      <a:pt x="2995613" y="407987"/>
                      <a:pt x="2781300" y="357187"/>
                    </a:cubicBezTo>
                    <a:cubicBezTo>
                      <a:pt x="2566988" y="306387"/>
                      <a:pt x="2555875" y="481012"/>
                      <a:pt x="2438400" y="471487"/>
                    </a:cubicBezTo>
                    <a:cubicBezTo>
                      <a:pt x="2320925" y="461962"/>
                      <a:pt x="2203450" y="314324"/>
                      <a:pt x="2076450" y="300037"/>
                    </a:cubicBezTo>
                    <a:cubicBezTo>
                      <a:pt x="1949450" y="285750"/>
                      <a:pt x="1827213" y="407987"/>
                      <a:pt x="1676400" y="385762"/>
                    </a:cubicBezTo>
                    <a:cubicBezTo>
                      <a:pt x="1525587" y="363537"/>
                      <a:pt x="1322388" y="200025"/>
                      <a:pt x="1171575" y="166687"/>
                    </a:cubicBezTo>
                    <a:cubicBezTo>
                      <a:pt x="1020763" y="133350"/>
                      <a:pt x="893763" y="203200"/>
                      <a:pt x="771525" y="185737"/>
                    </a:cubicBezTo>
                    <a:cubicBezTo>
                      <a:pt x="649287" y="168274"/>
                      <a:pt x="566737" y="0"/>
                      <a:pt x="438150" y="61912"/>
                    </a:cubicBezTo>
                    <a:cubicBezTo>
                      <a:pt x="309563" y="123824"/>
                      <a:pt x="154781" y="340518"/>
                      <a:pt x="0" y="557212"/>
                    </a:cubicBezTo>
                  </a:path>
                </a:pathLst>
              </a:custGeom>
              <a:ln w="38100">
                <a:solidFill>
                  <a:srgbClr val="F0720A"/>
                </a:solidFill>
              </a:ln>
            </p:spPr>
            <p:style>
              <a:lnRef idx="1">
                <a:schemeClr val="accent1"/>
              </a:lnRef>
              <a:fillRef idx="0">
                <a:schemeClr val="accent1"/>
              </a:fillRef>
              <a:effectRef idx="0">
                <a:schemeClr val="accent1"/>
              </a:effectRef>
              <a:fontRef idx="minor">
                <a:schemeClr val="tx1"/>
              </a:fontRef>
            </p:style>
            <p:txBody>
              <a:bodyPr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eaLnBrk="1" hangingPunct="1">
                  <a:defRPr/>
                </a:pPr>
                <a:endParaRPr lang="it-IT" dirty="0"/>
              </a:p>
            </p:txBody>
          </p:sp>
          <p:sp>
            <p:nvSpPr>
              <p:cNvPr id="45" name="Figura a mano libera 75">
                <a:extLst>
                  <a:ext uri="{FF2B5EF4-FFF2-40B4-BE49-F238E27FC236}">
                    <a16:creationId xmlns:a16="http://schemas.microsoft.com/office/drawing/2014/main" id="{0CC65766-0BC2-4F11-BBF9-D96D0820B984}"/>
                  </a:ext>
                </a:extLst>
              </p:cNvPr>
              <p:cNvSpPr/>
              <p:nvPr/>
            </p:nvSpPr>
            <p:spPr bwMode="auto">
              <a:xfrm>
                <a:off x="2035856" y="2743201"/>
                <a:ext cx="7031699" cy="1814297"/>
              </a:xfrm>
              <a:custGeom>
                <a:avLst/>
                <a:gdLst>
                  <a:gd name="connsiteX0" fmla="*/ 3924300 w 5876925"/>
                  <a:gd name="connsiteY0" fmla="*/ 295275 h 2381250"/>
                  <a:gd name="connsiteX1" fmla="*/ 4352925 w 5876925"/>
                  <a:gd name="connsiteY1" fmla="*/ 457200 h 2381250"/>
                  <a:gd name="connsiteX2" fmla="*/ 4524375 w 5876925"/>
                  <a:gd name="connsiteY2" fmla="*/ 666750 h 2381250"/>
                  <a:gd name="connsiteX3" fmla="*/ 4791075 w 5876925"/>
                  <a:gd name="connsiteY3" fmla="*/ 876300 h 2381250"/>
                  <a:gd name="connsiteX4" fmla="*/ 5391150 w 5876925"/>
                  <a:gd name="connsiteY4" fmla="*/ 1238250 h 2381250"/>
                  <a:gd name="connsiteX5" fmla="*/ 5762625 w 5876925"/>
                  <a:gd name="connsiteY5" fmla="*/ 1524000 h 2381250"/>
                  <a:gd name="connsiteX6" fmla="*/ 5838825 w 5876925"/>
                  <a:gd name="connsiteY6" fmla="*/ 1895475 h 2381250"/>
                  <a:gd name="connsiteX7" fmla="*/ 5705475 w 5876925"/>
                  <a:gd name="connsiteY7" fmla="*/ 2352675 h 2381250"/>
                  <a:gd name="connsiteX8" fmla="*/ 4810125 w 5876925"/>
                  <a:gd name="connsiteY8" fmla="*/ 2066925 h 2381250"/>
                  <a:gd name="connsiteX9" fmla="*/ 3981450 w 5876925"/>
                  <a:gd name="connsiteY9" fmla="*/ 1571625 h 2381250"/>
                  <a:gd name="connsiteX10" fmla="*/ 3352800 w 5876925"/>
                  <a:gd name="connsiteY10" fmla="*/ 1447800 h 2381250"/>
                  <a:gd name="connsiteX11" fmla="*/ 2705100 w 5876925"/>
                  <a:gd name="connsiteY11" fmla="*/ 1123950 h 2381250"/>
                  <a:gd name="connsiteX12" fmla="*/ 1695450 w 5876925"/>
                  <a:gd name="connsiteY12" fmla="*/ 857250 h 2381250"/>
                  <a:gd name="connsiteX13" fmla="*/ 809625 w 5876925"/>
                  <a:gd name="connsiteY13" fmla="*/ 723900 h 2381250"/>
                  <a:gd name="connsiteX14" fmla="*/ 0 w 5876925"/>
                  <a:gd name="connsiteY14" fmla="*/ 0 h 238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76925" h="2381250">
                    <a:moveTo>
                      <a:pt x="3924300" y="295275"/>
                    </a:moveTo>
                    <a:cubicBezTo>
                      <a:pt x="4088606" y="345281"/>
                      <a:pt x="4252912" y="395287"/>
                      <a:pt x="4352925" y="457200"/>
                    </a:cubicBezTo>
                    <a:cubicBezTo>
                      <a:pt x="4452938" y="519113"/>
                      <a:pt x="4451350" y="596900"/>
                      <a:pt x="4524375" y="666750"/>
                    </a:cubicBezTo>
                    <a:cubicBezTo>
                      <a:pt x="4597400" y="736600"/>
                      <a:pt x="4646613" y="781050"/>
                      <a:pt x="4791075" y="876300"/>
                    </a:cubicBezTo>
                    <a:cubicBezTo>
                      <a:pt x="4935538" y="971550"/>
                      <a:pt x="5229225" y="1130300"/>
                      <a:pt x="5391150" y="1238250"/>
                    </a:cubicBezTo>
                    <a:cubicBezTo>
                      <a:pt x="5553075" y="1346200"/>
                      <a:pt x="5688013" y="1414463"/>
                      <a:pt x="5762625" y="1524000"/>
                    </a:cubicBezTo>
                    <a:cubicBezTo>
                      <a:pt x="5837237" y="1633537"/>
                      <a:pt x="5848350" y="1757363"/>
                      <a:pt x="5838825" y="1895475"/>
                    </a:cubicBezTo>
                    <a:cubicBezTo>
                      <a:pt x="5829300" y="2033588"/>
                      <a:pt x="5876925" y="2324100"/>
                      <a:pt x="5705475" y="2352675"/>
                    </a:cubicBezTo>
                    <a:cubicBezTo>
                      <a:pt x="5534025" y="2381250"/>
                      <a:pt x="5097462" y="2197100"/>
                      <a:pt x="4810125" y="2066925"/>
                    </a:cubicBezTo>
                    <a:cubicBezTo>
                      <a:pt x="4522788" y="1936750"/>
                      <a:pt x="4224338" y="1674813"/>
                      <a:pt x="3981450" y="1571625"/>
                    </a:cubicBezTo>
                    <a:cubicBezTo>
                      <a:pt x="3738563" y="1468438"/>
                      <a:pt x="3565525" y="1522412"/>
                      <a:pt x="3352800" y="1447800"/>
                    </a:cubicBezTo>
                    <a:cubicBezTo>
                      <a:pt x="3140075" y="1373188"/>
                      <a:pt x="2981325" y="1222375"/>
                      <a:pt x="2705100" y="1123950"/>
                    </a:cubicBezTo>
                    <a:cubicBezTo>
                      <a:pt x="2428875" y="1025525"/>
                      <a:pt x="2011363" y="923925"/>
                      <a:pt x="1695450" y="857250"/>
                    </a:cubicBezTo>
                    <a:cubicBezTo>
                      <a:pt x="1379538" y="790575"/>
                      <a:pt x="1092200" y="866775"/>
                      <a:pt x="809625" y="723900"/>
                    </a:cubicBezTo>
                    <a:cubicBezTo>
                      <a:pt x="527050" y="581025"/>
                      <a:pt x="263525" y="290512"/>
                      <a:pt x="0" y="0"/>
                    </a:cubicBezTo>
                  </a:path>
                </a:pathLst>
              </a:custGeom>
              <a:ln w="38100">
                <a:solidFill>
                  <a:srgbClr val="FCA60C"/>
                </a:solidFill>
              </a:ln>
            </p:spPr>
            <p:style>
              <a:lnRef idx="1">
                <a:schemeClr val="accent1"/>
              </a:lnRef>
              <a:fillRef idx="0">
                <a:schemeClr val="accent1"/>
              </a:fillRef>
              <a:effectRef idx="0">
                <a:schemeClr val="accent1"/>
              </a:effectRef>
              <a:fontRef idx="minor">
                <a:schemeClr val="tx1"/>
              </a:fontRef>
            </p:style>
            <p:txBody>
              <a:bodyPr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eaLnBrk="1" hangingPunct="1">
                  <a:defRPr/>
                </a:pPr>
                <a:endParaRPr lang="it-IT" dirty="0"/>
              </a:p>
            </p:txBody>
          </p:sp>
          <p:sp>
            <p:nvSpPr>
              <p:cNvPr id="46" name="Figura a mano libera 77">
                <a:extLst>
                  <a:ext uri="{FF2B5EF4-FFF2-40B4-BE49-F238E27FC236}">
                    <a16:creationId xmlns:a16="http://schemas.microsoft.com/office/drawing/2014/main" id="{02EAE3C0-9B26-4B37-8741-84237E38346C}"/>
                  </a:ext>
                </a:extLst>
              </p:cNvPr>
              <p:cNvSpPr/>
              <p:nvPr/>
            </p:nvSpPr>
            <p:spPr bwMode="auto">
              <a:xfrm>
                <a:off x="6798339" y="2922830"/>
                <a:ext cx="3357805" cy="2564762"/>
              </a:xfrm>
              <a:custGeom>
                <a:avLst/>
                <a:gdLst>
                  <a:gd name="connsiteX0" fmla="*/ 0 w 2752725"/>
                  <a:gd name="connsiteY0" fmla="*/ 0 h 2981325"/>
                  <a:gd name="connsiteX1" fmla="*/ 504825 w 2752725"/>
                  <a:gd name="connsiteY1" fmla="*/ 180975 h 2981325"/>
                  <a:gd name="connsiteX2" fmla="*/ 828675 w 2752725"/>
                  <a:gd name="connsiteY2" fmla="*/ 523875 h 2981325"/>
                  <a:gd name="connsiteX3" fmla="*/ 1657350 w 2752725"/>
                  <a:gd name="connsiteY3" fmla="*/ 1047750 h 2981325"/>
                  <a:gd name="connsiteX4" fmla="*/ 1924050 w 2752725"/>
                  <a:gd name="connsiteY4" fmla="*/ 1323975 h 2981325"/>
                  <a:gd name="connsiteX5" fmla="*/ 1981200 w 2752725"/>
                  <a:gd name="connsiteY5" fmla="*/ 1790700 h 2981325"/>
                  <a:gd name="connsiteX6" fmla="*/ 1914525 w 2752725"/>
                  <a:gd name="connsiteY6" fmla="*/ 2143125 h 2981325"/>
                  <a:gd name="connsiteX7" fmla="*/ 2752725 w 2752725"/>
                  <a:gd name="connsiteY7" fmla="*/ 2981325 h 2981325"/>
                  <a:gd name="connsiteX0" fmla="*/ 0 w 2752725"/>
                  <a:gd name="connsiteY0" fmla="*/ 0 h 2981325"/>
                  <a:gd name="connsiteX1" fmla="*/ 504825 w 2752725"/>
                  <a:gd name="connsiteY1" fmla="*/ 180975 h 2981325"/>
                  <a:gd name="connsiteX2" fmla="*/ 828675 w 2752725"/>
                  <a:gd name="connsiteY2" fmla="*/ 523875 h 2981325"/>
                  <a:gd name="connsiteX3" fmla="*/ 1681992 w 2752725"/>
                  <a:gd name="connsiteY3" fmla="*/ 975450 h 2981325"/>
                  <a:gd name="connsiteX4" fmla="*/ 1924050 w 2752725"/>
                  <a:gd name="connsiteY4" fmla="*/ 1323975 h 2981325"/>
                  <a:gd name="connsiteX5" fmla="*/ 1981200 w 2752725"/>
                  <a:gd name="connsiteY5" fmla="*/ 1790700 h 2981325"/>
                  <a:gd name="connsiteX6" fmla="*/ 1914525 w 2752725"/>
                  <a:gd name="connsiteY6" fmla="*/ 2143125 h 2981325"/>
                  <a:gd name="connsiteX7" fmla="*/ 2752725 w 2752725"/>
                  <a:gd name="connsiteY7" fmla="*/ 2981325 h 2981325"/>
                  <a:gd name="connsiteX0" fmla="*/ 0 w 2563806"/>
                  <a:gd name="connsiteY0" fmla="*/ 0 h 2872875"/>
                  <a:gd name="connsiteX1" fmla="*/ 315906 w 2563806"/>
                  <a:gd name="connsiteY1" fmla="*/ 72525 h 2872875"/>
                  <a:gd name="connsiteX2" fmla="*/ 639756 w 2563806"/>
                  <a:gd name="connsiteY2" fmla="*/ 415425 h 2872875"/>
                  <a:gd name="connsiteX3" fmla="*/ 1493073 w 2563806"/>
                  <a:gd name="connsiteY3" fmla="*/ 867000 h 2872875"/>
                  <a:gd name="connsiteX4" fmla="*/ 1735131 w 2563806"/>
                  <a:gd name="connsiteY4" fmla="*/ 1215525 h 2872875"/>
                  <a:gd name="connsiteX5" fmla="*/ 1792281 w 2563806"/>
                  <a:gd name="connsiteY5" fmla="*/ 1682250 h 2872875"/>
                  <a:gd name="connsiteX6" fmla="*/ 1725606 w 2563806"/>
                  <a:gd name="connsiteY6" fmla="*/ 2034675 h 2872875"/>
                  <a:gd name="connsiteX7" fmla="*/ 2563806 w 2563806"/>
                  <a:gd name="connsiteY7" fmla="*/ 2872875 h 2872875"/>
                  <a:gd name="connsiteX0" fmla="*/ 0 w 2563806"/>
                  <a:gd name="connsiteY0" fmla="*/ 0 h 2872875"/>
                  <a:gd name="connsiteX1" fmla="*/ 315906 w 2563806"/>
                  <a:gd name="connsiteY1" fmla="*/ 72525 h 2872875"/>
                  <a:gd name="connsiteX2" fmla="*/ 639756 w 2563806"/>
                  <a:gd name="connsiteY2" fmla="*/ 415425 h 2872875"/>
                  <a:gd name="connsiteX3" fmla="*/ 1493073 w 2563806"/>
                  <a:gd name="connsiteY3" fmla="*/ 867000 h 2872875"/>
                  <a:gd name="connsiteX4" fmla="*/ 1735131 w 2563806"/>
                  <a:gd name="connsiteY4" fmla="*/ 1215525 h 2872875"/>
                  <a:gd name="connsiteX5" fmla="*/ 1765609 w 2563806"/>
                  <a:gd name="connsiteY5" fmla="*/ 1659515 h 2872875"/>
                  <a:gd name="connsiteX6" fmla="*/ 1725606 w 2563806"/>
                  <a:gd name="connsiteY6" fmla="*/ 2034675 h 2872875"/>
                  <a:gd name="connsiteX7" fmla="*/ 2563806 w 2563806"/>
                  <a:gd name="connsiteY7" fmla="*/ 2872875 h 28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3806" h="2872875">
                    <a:moveTo>
                      <a:pt x="0" y="0"/>
                    </a:moveTo>
                    <a:cubicBezTo>
                      <a:pt x="183356" y="46831"/>
                      <a:pt x="209280" y="3288"/>
                      <a:pt x="315906" y="72525"/>
                    </a:cubicBezTo>
                    <a:cubicBezTo>
                      <a:pt x="422532" y="141763"/>
                      <a:pt x="443562" y="283013"/>
                      <a:pt x="639756" y="415425"/>
                    </a:cubicBezTo>
                    <a:cubicBezTo>
                      <a:pt x="835950" y="547837"/>
                      <a:pt x="1310511" y="733650"/>
                      <a:pt x="1493073" y="867000"/>
                    </a:cubicBezTo>
                    <a:cubicBezTo>
                      <a:pt x="1675636" y="1000350"/>
                      <a:pt x="1689708" y="1083439"/>
                      <a:pt x="1735131" y="1215525"/>
                    </a:cubicBezTo>
                    <a:cubicBezTo>
                      <a:pt x="1780554" y="1347611"/>
                      <a:pt x="1767196" y="1522990"/>
                      <a:pt x="1765609" y="1659515"/>
                    </a:cubicBezTo>
                    <a:cubicBezTo>
                      <a:pt x="1764022" y="1796040"/>
                      <a:pt x="1597019" y="1836238"/>
                      <a:pt x="1725606" y="2034675"/>
                    </a:cubicBezTo>
                    <a:cubicBezTo>
                      <a:pt x="1854193" y="2233112"/>
                      <a:pt x="2208999" y="2552993"/>
                      <a:pt x="2563806" y="2872875"/>
                    </a:cubicBezTo>
                  </a:path>
                </a:pathLst>
              </a:cu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eaLnBrk="1" hangingPunct="1">
                  <a:defRPr/>
                </a:pPr>
                <a:endParaRPr lang="it-IT"/>
              </a:p>
            </p:txBody>
          </p:sp>
        </p:grpSp>
        <p:sp>
          <p:nvSpPr>
            <p:cNvPr id="36" name="CasellaDiTesto 35">
              <a:extLst>
                <a:ext uri="{FF2B5EF4-FFF2-40B4-BE49-F238E27FC236}">
                  <a16:creationId xmlns:a16="http://schemas.microsoft.com/office/drawing/2014/main" id="{BDE1542F-062F-4193-B22F-4C8B5EBFD385}"/>
                </a:ext>
              </a:extLst>
            </p:cNvPr>
            <p:cNvSpPr txBox="1"/>
            <p:nvPr/>
          </p:nvSpPr>
          <p:spPr>
            <a:xfrm>
              <a:off x="3809579" y="2822262"/>
              <a:ext cx="235185" cy="216396"/>
            </a:xfrm>
            <a:prstGeom prst="ellipse">
              <a:avLst/>
            </a:prstGeom>
            <a:noFill/>
            <a:ln w="19050">
              <a:solidFill>
                <a:srgbClr val="00B050"/>
              </a:solidFill>
            </a:ln>
          </p:spPr>
          <p:txBody>
            <a:bodyPr wrap="square" lIns="0" tIns="0" rIns="0" bIns="0" anchor="ctr" anchorCtr="0">
              <a:spAutoFit/>
            </a:bodyPr>
            <a:lstStyle/>
            <a:p>
              <a:pPr algn="ctr"/>
              <a:r>
                <a:rPr lang="it-IT" sz="1000" b="1" dirty="0">
                  <a:solidFill>
                    <a:srgbClr val="00B050"/>
                  </a:solidFill>
                </a:rPr>
                <a:t>1a</a:t>
              </a:r>
              <a:endParaRPr lang="it-IT" sz="1000" dirty="0"/>
            </a:p>
          </p:txBody>
        </p:sp>
        <p:sp>
          <p:nvSpPr>
            <p:cNvPr id="37" name="CasellaDiTesto 36">
              <a:extLst>
                <a:ext uri="{FF2B5EF4-FFF2-40B4-BE49-F238E27FC236}">
                  <a16:creationId xmlns:a16="http://schemas.microsoft.com/office/drawing/2014/main" id="{1551EA85-4334-4139-B26C-BB522E26D0E7}"/>
                </a:ext>
              </a:extLst>
            </p:cNvPr>
            <p:cNvSpPr txBox="1"/>
            <p:nvPr/>
          </p:nvSpPr>
          <p:spPr>
            <a:xfrm>
              <a:off x="4748981" y="3278497"/>
              <a:ext cx="231162" cy="216396"/>
            </a:xfrm>
            <a:prstGeom prst="ellipse">
              <a:avLst/>
            </a:prstGeom>
            <a:noFill/>
            <a:ln w="19050">
              <a:solidFill>
                <a:srgbClr val="003300"/>
              </a:solidFill>
            </a:ln>
          </p:spPr>
          <p:txBody>
            <a:bodyPr wrap="square" lIns="0" tIns="0" rIns="0" bIns="0" anchor="ctr" anchorCtr="0">
              <a:spAutoFit/>
            </a:bodyPr>
            <a:lstStyle/>
            <a:p>
              <a:pPr algn="ctr"/>
              <a:r>
                <a:rPr lang="it-IT" sz="1000" b="1" dirty="0">
                  <a:solidFill>
                    <a:srgbClr val="003300"/>
                  </a:solidFill>
                </a:rPr>
                <a:t>1b</a:t>
              </a:r>
              <a:endParaRPr lang="it-IT" sz="1000" dirty="0">
                <a:solidFill>
                  <a:srgbClr val="003300"/>
                </a:solidFill>
              </a:endParaRPr>
            </a:p>
          </p:txBody>
        </p:sp>
        <p:sp>
          <p:nvSpPr>
            <p:cNvPr id="38" name="CasellaDiTesto 37">
              <a:extLst>
                <a:ext uri="{FF2B5EF4-FFF2-40B4-BE49-F238E27FC236}">
                  <a16:creationId xmlns:a16="http://schemas.microsoft.com/office/drawing/2014/main" id="{0BF40CBA-E03A-48E1-AE01-7721CCF52D74}"/>
                </a:ext>
              </a:extLst>
            </p:cNvPr>
            <p:cNvSpPr txBox="1"/>
            <p:nvPr/>
          </p:nvSpPr>
          <p:spPr>
            <a:xfrm>
              <a:off x="5421363" y="3762934"/>
              <a:ext cx="231162" cy="216396"/>
            </a:xfrm>
            <a:prstGeom prst="ellipse">
              <a:avLst/>
            </a:prstGeom>
            <a:noFill/>
            <a:ln w="19050">
              <a:solidFill>
                <a:srgbClr val="004C7B"/>
              </a:solidFill>
            </a:ln>
          </p:spPr>
          <p:txBody>
            <a:bodyPr wrap="square" lIns="0" tIns="0" rIns="0" bIns="0" anchor="ctr" anchorCtr="0">
              <a:spAutoFit/>
            </a:bodyPr>
            <a:lstStyle/>
            <a:p>
              <a:pPr algn="ctr"/>
              <a:r>
                <a:rPr lang="it-IT" sz="1000" b="1" dirty="0">
                  <a:solidFill>
                    <a:srgbClr val="003300"/>
                  </a:solidFill>
                </a:rPr>
                <a:t>2a</a:t>
              </a:r>
              <a:endParaRPr lang="it-IT" sz="1000" dirty="0">
                <a:solidFill>
                  <a:srgbClr val="003300"/>
                </a:solidFill>
              </a:endParaRPr>
            </a:p>
          </p:txBody>
        </p:sp>
        <p:sp>
          <p:nvSpPr>
            <p:cNvPr id="39" name="CasellaDiTesto 38">
              <a:extLst>
                <a:ext uri="{FF2B5EF4-FFF2-40B4-BE49-F238E27FC236}">
                  <a16:creationId xmlns:a16="http://schemas.microsoft.com/office/drawing/2014/main" id="{41F4270E-830F-45C0-839A-5B29E4662131}"/>
                </a:ext>
              </a:extLst>
            </p:cNvPr>
            <p:cNvSpPr txBox="1"/>
            <p:nvPr/>
          </p:nvSpPr>
          <p:spPr>
            <a:xfrm>
              <a:off x="2629132" y="2681057"/>
              <a:ext cx="231162" cy="216396"/>
            </a:xfrm>
            <a:prstGeom prst="ellipse">
              <a:avLst/>
            </a:prstGeom>
            <a:noFill/>
            <a:ln w="19050">
              <a:solidFill>
                <a:srgbClr val="FCA60C"/>
              </a:solidFill>
            </a:ln>
          </p:spPr>
          <p:txBody>
            <a:bodyPr wrap="square" lIns="0" tIns="0" rIns="0" bIns="0" anchor="ctr" anchorCtr="0">
              <a:spAutoFit/>
            </a:bodyPr>
            <a:lstStyle/>
            <a:p>
              <a:pPr algn="ctr"/>
              <a:r>
                <a:rPr lang="it-IT" sz="1000" b="1" dirty="0">
                  <a:solidFill>
                    <a:srgbClr val="FCA60C"/>
                  </a:solidFill>
                </a:rPr>
                <a:t>3b</a:t>
              </a:r>
              <a:endParaRPr lang="it-IT" sz="1000" dirty="0">
                <a:solidFill>
                  <a:srgbClr val="FCA60C"/>
                </a:solidFill>
              </a:endParaRPr>
            </a:p>
          </p:txBody>
        </p:sp>
        <p:sp>
          <p:nvSpPr>
            <p:cNvPr id="62" name="CasellaDiTesto 61">
              <a:extLst>
                <a:ext uri="{FF2B5EF4-FFF2-40B4-BE49-F238E27FC236}">
                  <a16:creationId xmlns:a16="http://schemas.microsoft.com/office/drawing/2014/main" id="{DBACEA6A-46FA-4CD6-B47C-70FE8B89FF9C}"/>
                </a:ext>
              </a:extLst>
            </p:cNvPr>
            <p:cNvSpPr txBox="1"/>
            <p:nvPr/>
          </p:nvSpPr>
          <p:spPr>
            <a:xfrm>
              <a:off x="2232525" y="2026629"/>
              <a:ext cx="231162" cy="216396"/>
            </a:xfrm>
            <a:prstGeom prst="ellipse">
              <a:avLst/>
            </a:prstGeom>
            <a:noFill/>
            <a:ln w="19050">
              <a:solidFill>
                <a:srgbClr val="F0720A"/>
              </a:solidFill>
            </a:ln>
          </p:spPr>
          <p:txBody>
            <a:bodyPr wrap="square" lIns="0" tIns="0" rIns="0" bIns="0" anchor="ctr" anchorCtr="0">
              <a:spAutoFit/>
            </a:bodyPr>
            <a:lstStyle/>
            <a:p>
              <a:pPr algn="ctr"/>
              <a:r>
                <a:rPr lang="it-IT" sz="1000" b="1" dirty="0">
                  <a:solidFill>
                    <a:srgbClr val="F0720A"/>
                  </a:solidFill>
                </a:rPr>
                <a:t>3a</a:t>
              </a:r>
              <a:endParaRPr lang="it-IT" sz="1000" dirty="0">
                <a:solidFill>
                  <a:srgbClr val="F0720A"/>
                </a:solidFill>
              </a:endParaRPr>
            </a:p>
          </p:txBody>
        </p:sp>
      </p:grpSp>
      <p:sp>
        <p:nvSpPr>
          <p:cNvPr id="49" name="Segnaposto testo 8">
            <a:extLst>
              <a:ext uri="{FF2B5EF4-FFF2-40B4-BE49-F238E27FC236}">
                <a16:creationId xmlns:a16="http://schemas.microsoft.com/office/drawing/2014/main" id="{C2BC3E24-348C-447F-9009-A5B0EED1B943}"/>
              </a:ext>
            </a:extLst>
          </p:cNvPr>
          <p:cNvSpPr txBox="1">
            <a:spLocks/>
          </p:cNvSpPr>
          <p:nvPr/>
        </p:nvSpPr>
        <p:spPr>
          <a:xfrm>
            <a:off x="1044435" y="1121246"/>
            <a:ext cx="3321006" cy="424056"/>
          </a:xfrm>
          <a:prstGeom prst="rect">
            <a:avLst/>
          </a:prstGeom>
        </p:spPr>
        <p:txBody>
          <a:bodyPr vert="horz" lIns="91440" tIns="45720" rIns="91440" bIns="45720" rtlCol="0" anchor="b">
            <a:norm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Finalità dell’iniziativa</a:t>
            </a:r>
          </a:p>
        </p:txBody>
      </p:sp>
      <p:graphicFrame>
        <p:nvGraphicFramePr>
          <p:cNvPr id="2" name="Tabella 1">
            <a:extLst>
              <a:ext uri="{FF2B5EF4-FFF2-40B4-BE49-F238E27FC236}">
                <a16:creationId xmlns:a16="http://schemas.microsoft.com/office/drawing/2014/main" id="{9CB3A6FA-26D7-465E-9090-5407296EAE40}"/>
              </a:ext>
            </a:extLst>
          </p:cNvPr>
          <p:cNvGraphicFramePr>
            <a:graphicFrameLocks noGrp="1"/>
          </p:cNvGraphicFramePr>
          <p:nvPr>
            <p:extLst>
              <p:ext uri="{D42A27DB-BD31-4B8C-83A1-F6EECF244321}">
                <p14:modId xmlns:p14="http://schemas.microsoft.com/office/powerpoint/2010/main" val="1013459606"/>
              </p:ext>
            </p:extLst>
          </p:nvPr>
        </p:nvGraphicFramePr>
        <p:xfrm>
          <a:off x="6271537" y="4358992"/>
          <a:ext cx="5303523" cy="1475948"/>
        </p:xfrm>
        <a:graphic>
          <a:graphicData uri="http://schemas.openxmlformats.org/drawingml/2006/table">
            <a:tbl>
              <a:tblPr firstRow="1" bandRow="1">
                <a:tableStyleId>{5C22544A-7EE6-4342-B048-85BDC9FD1C3A}</a:tableStyleId>
              </a:tblPr>
              <a:tblGrid>
                <a:gridCol w="1594269">
                  <a:extLst>
                    <a:ext uri="{9D8B030D-6E8A-4147-A177-3AD203B41FA5}">
                      <a16:colId xmlns:a16="http://schemas.microsoft.com/office/drawing/2014/main" val="2158008173"/>
                    </a:ext>
                  </a:extLst>
                </a:gridCol>
                <a:gridCol w="639097">
                  <a:extLst>
                    <a:ext uri="{9D8B030D-6E8A-4147-A177-3AD203B41FA5}">
                      <a16:colId xmlns:a16="http://schemas.microsoft.com/office/drawing/2014/main" val="207153298"/>
                    </a:ext>
                  </a:extLst>
                </a:gridCol>
                <a:gridCol w="717755">
                  <a:extLst>
                    <a:ext uri="{9D8B030D-6E8A-4147-A177-3AD203B41FA5}">
                      <a16:colId xmlns:a16="http://schemas.microsoft.com/office/drawing/2014/main" val="639331276"/>
                    </a:ext>
                  </a:extLst>
                </a:gridCol>
                <a:gridCol w="1170039">
                  <a:extLst>
                    <a:ext uri="{9D8B030D-6E8A-4147-A177-3AD203B41FA5}">
                      <a16:colId xmlns:a16="http://schemas.microsoft.com/office/drawing/2014/main" val="1761127192"/>
                    </a:ext>
                  </a:extLst>
                </a:gridCol>
                <a:gridCol w="1182363">
                  <a:extLst>
                    <a:ext uri="{9D8B030D-6E8A-4147-A177-3AD203B41FA5}">
                      <a16:colId xmlns:a16="http://schemas.microsoft.com/office/drawing/2014/main" val="566779143"/>
                    </a:ext>
                  </a:extLst>
                </a:gridCol>
              </a:tblGrid>
              <a:tr h="231331">
                <a:tc>
                  <a:txBody>
                    <a:bodyPr/>
                    <a:lstStyle/>
                    <a:p>
                      <a:pPr marL="0" algn="ctr" defTabSz="914400" rtl="0" eaLnBrk="1" latinLnBrk="0" hangingPunct="1"/>
                      <a:r>
                        <a:rPr lang="it-IT" sz="1000" b="1" kern="1200" dirty="0">
                          <a:solidFill>
                            <a:schemeClr val="bg1"/>
                          </a:solidFill>
                        </a:rPr>
                        <a:t>Tragitti nuova viabilità</a:t>
                      </a:r>
                      <a:endParaRPr lang="it-IT" sz="1000" b="1" kern="1200" dirty="0">
                        <a:solidFill>
                          <a:schemeClr val="bg1"/>
                        </a:solidFill>
                        <a:latin typeface="+mn-lt"/>
                        <a:ea typeface="+mn-ea"/>
                        <a:cs typeface="+mn-cs"/>
                      </a:endParaRPr>
                    </a:p>
                  </a:txBody>
                  <a:tcPr anchor="ctr"/>
                </a:tc>
                <a:tc>
                  <a:txBody>
                    <a:bodyPr/>
                    <a:lstStyle/>
                    <a:p>
                      <a:pPr marL="0" algn="ctr" defTabSz="914400" rtl="0" eaLnBrk="1" latinLnBrk="0" hangingPunct="1"/>
                      <a:r>
                        <a:rPr lang="it-IT" sz="1000" b="1" kern="1200" dirty="0">
                          <a:solidFill>
                            <a:schemeClr val="bg1"/>
                          </a:solidFill>
                        </a:rPr>
                        <a:t>T (</a:t>
                      </a:r>
                      <a:r>
                        <a:rPr lang="it-IT" sz="1000" b="1" kern="1200" dirty="0" err="1">
                          <a:solidFill>
                            <a:schemeClr val="bg1"/>
                          </a:solidFill>
                        </a:rPr>
                        <a:t>min</a:t>
                      </a:r>
                      <a:r>
                        <a:rPr lang="it-IT" sz="1000" b="1" kern="1200" dirty="0">
                          <a:solidFill>
                            <a:schemeClr val="bg1"/>
                          </a:solidFill>
                        </a:rPr>
                        <a:t>)</a:t>
                      </a:r>
                      <a:endParaRPr lang="it-IT" sz="1000" b="1" kern="1200" dirty="0">
                        <a:solidFill>
                          <a:schemeClr val="bg1"/>
                        </a:solidFill>
                        <a:latin typeface="+mn-lt"/>
                        <a:ea typeface="+mn-ea"/>
                        <a:cs typeface="+mn-cs"/>
                      </a:endParaRPr>
                    </a:p>
                  </a:txBody>
                  <a:tcPr anchor="ctr"/>
                </a:tc>
                <a:tc>
                  <a:txBody>
                    <a:bodyPr/>
                    <a:lstStyle/>
                    <a:p>
                      <a:pPr marL="0" algn="ctr" defTabSz="914400" rtl="0" eaLnBrk="1" latinLnBrk="0" hangingPunct="1"/>
                      <a:r>
                        <a:rPr lang="el-GR" sz="1000" b="1" kern="1200" dirty="0">
                          <a:solidFill>
                            <a:schemeClr val="bg1"/>
                          </a:solidFill>
                        </a:rPr>
                        <a:t>Δ</a:t>
                      </a:r>
                      <a:r>
                        <a:rPr lang="it-IT" sz="1000" b="1" kern="1200" dirty="0">
                          <a:solidFill>
                            <a:schemeClr val="bg1"/>
                          </a:solidFill>
                        </a:rPr>
                        <a:t>T (min)</a:t>
                      </a:r>
                      <a:endParaRPr lang="it-IT" sz="1000" b="1" kern="1200" dirty="0">
                        <a:solidFill>
                          <a:schemeClr val="bg1"/>
                        </a:solidFill>
                        <a:latin typeface="+mn-lt"/>
                        <a:ea typeface="+mn-ea"/>
                        <a:cs typeface="+mn-cs"/>
                      </a:endParaRPr>
                    </a:p>
                  </a:txBody>
                  <a:tcPr anchor="ctr"/>
                </a:tc>
                <a:tc>
                  <a:txBody>
                    <a:bodyPr/>
                    <a:lstStyle/>
                    <a:p>
                      <a:pPr marL="0" algn="ctr" defTabSz="914400" rtl="0" eaLnBrk="1" latinLnBrk="0" hangingPunct="1"/>
                      <a:r>
                        <a:rPr lang="it-IT" sz="1000" b="1" kern="1200" dirty="0">
                          <a:solidFill>
                            <a:schemeClr val="bg1"/>
                          </a:solidFill>
                          <a:latin typeface="+mn-lt"/>
                          <a:ea typeface="+mn-ea"/>
                          <a:cs typeface="+mn-cs"/>
                        </a:rPr>
                        <a:t>Pedaggio </a:t>
                      </a:r>
                    </a:p>
                  </a:txBody>
                  <a:tcPr anchor="ctr"/>
                </a:tc>
                <a:tc>
                  <a:txBody>
                    <a:bodyPr/>
                    <a:lstStyle/>
                    <a:p>
                      <a:pPr marL="0" algn="ctr" defTabSz="914400" rtl="0" eaLnBrk="1" latinLnBrk="0" hangingPunct="1"/>
                      <a:r>
                        <a:rPr lang="el-GR" sz="1000" b="1" kern="1200" dirty="0">
                          <a:solidFill>
                            <a:schemeClr val="bg1"/>
                          </a:solidFill>
                        </a:rPr>
                        <a:t>Δ</a:t>
                      </a:r>
                      <a:r>
                        <a:rPr lang="it-IT" sz="1000" b="1" kern="1200" dirty="0">
                          <a:solidFill>
                            <a:schemeClr val="bg1"/>
                          </a:solidFill>
                          <a:latin typeface="+mn-lt"/>
                          <a:ea typeface="+mn-ea"/>
                          <a:cs typeface="+mn-cs"/>
                        </a:rPr>
                        <a:t>pedaggio</a:t>
                      </a:r>
                    </a:p>
                  </a:txBody>
                  <a:tcPr anchor="ctr"/>
                </a:tc>
                <a:extLst>
                  <a:ext uri="{0D108BD9-81ED-4DB2-BD59-A6C34878D82A}">
                    <a16:rowId xmlns:a16="http://schemas.microsoft.com/office/drawing/2014/main" val="3226576138"/>
                  </a:ext>
                </a:extLst>
              </a:tr>
              <a:tr h="226770">
                <a:tc rowSpan="2">
                  <a:txBody>
                    <a:bodyPr/>
                    <a:lstStyle/>
                    <a:p>
                      <a:pPr algn="ctr"/>
                      <a:r>
                        <a:rPr lang="it-IT" sz="1000" b="1" dirty="0">
                          <a:solidFill>
                            <a:srgbClr val="008000"/>
                          </a:solidFill>
                        </a:rPr>
                        <a:t>1c</a:t>
                      </a:r>
                      <a:r>
                        <a:rPr lang="it-IT" sz="1000" dirty="0"/>
                        <a:t> via Tunnel</a:t>
                      </a:r>
                    </a:p>
                  </a:txBody>
                  <a:tcPr anchor="ctr">
                    <a:solidFill>
                      <a:srgbClr val="CBD3E0"/>
                    </a:solidFill>
                  </a:tcPr>
                </a:tc>
                <a:tc rowSpan="2">
                  <a:txBody>
                    <a:bodyPr/>
                    <a:lstStyle/>
                    <a:p>
                      <a:pPr algn="ctr"/>
                      <a:r>
                        <a:rPr lang="it-IT" sz="1000" dirty="0"/>
                        <a:t>21</a:t>
                      </a:r>
                    </a:p>
                  </a:txBody>
                  <a:tcPr anchor="ctr">
                    <a:solidFill>
                      <a:srgbClr val="CBD3E0"/>
                    </a:solidFill>
                  </a:tcPr>
                </a:tc>
                <a:tc>
                  <a:txBody>
                    <a:bodyPr/>
                    <a:lstStyle/>
                    <a:p>
                      <a:pPr marL="0" indent="0" algn="ctr">
                        <a:buFontTx/>
                        <a:buNone/>
                      </a:pPr>
                      <a:r>
                        <a:rPr lang="it-IT" sz="1000" dirty="0"/>
                        <a:t>-15</a:t>
                      </a:r>
                    </a:p>
                  </a:txBody>
                  <a:tcPr anchor="ctr">
                    <a:solidFill>
                      <a:srgbClr val="CBD3E0"/>
                    </a:solidFill>
                  </a:tcPr>
                </a:tc>
                <a:tc rowSpan="2">
                  <a:txBody>
                    <a:bodyPr/>
                    <a:lstStyle/>
                    <a:p>
                      <a:pPr marL="0" indent="0" algn="ctr">
                        <a:buFontTx/>
                        <a:buNone/>
                      </a:pPr>
                      <a:r>
                        <a:rPr lang="it-IT" sz="1000" dirty="0"/>
                        <a:t>1,00 €</a:t>
                      </a:r>
                    </a:p>
                  </a:txBody>
                  <a:tcPr anchor="ctr">
                    <a:solidFill>
                      <a:srgbClr val="CBD3E0"/>
                    </a:solidFill>
                  </a:tcPr>
                </a:tc>
                <a:tc>
                  <a:txBody>
                    <a:bodyPr/>
                    <a:lstStyle/>
                    <a:p>
                      <a:pPr marL="0" indent="0" algn="ctr">
                        <a:buFontTx/>
                        <a:buNone/>
                      </a:pPr>
                      <a:r>
                        <a:rPr lang="it-IT" sz="1000" dirty="0"/>
                        <a:t>1,00 €</a:t>
                      </a:r>
                    </a:p>
                  </a:txBody>
                  <a:tcPr anchor="ctr">
                    <a:solidFill>
                      <a:srgbClr val="CBD3E0"/>
                    </a:solidFill>
                  </a:tcPr>
                </a:tc>
                <a:extLst>
                  <a:ext uri="{0D108BD9-81ED-4DB2-BD59-A6C34878D82A}">
                    <a16:rowId xmlns:a16="http://schemas.microsoft.com/office/drawing/2014/main" val="2777631479"/>
                  </a:ext>
                </a:extLst>
              </a:tr>
              <a:tr h="226770">
                <a:tc vMerge="1">
                  <a:txBody>
                    <a:bodyPr/>
                    <a:lstStyle/>
                    <a:p>
                      <a:pPr algn="ctr"/>
                      <a:r>
                        <a:rPr lang="it-IT" sz="1000" dirty="0"/>
                        <a:t>Via Tunnel</a:t>
                      </a:r>
                    </a:p>
                  </a:txBody>
                  <a:tcPr/>
                </a:tc>
                <a:tc vMerge="1">
                  <a:txBody>
                    <a:bodyPr/>
                    <a:lstStyle/>
                    <a:p>
                      <a:pPr algn="ctr"/>
                      <a:endParaRPr lang="it-IT"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r>
                        <a:rPr lang="it-IT" sz="1000" dirty="0"/>
                        <a:t>-26</a:t>
                      </a:r>
                    </a:p>
                  </a:txBody>
                  <a:tcPr anchor="ctr">
                    <a:solidFill>
                      <a:srgbClr val="CBD3E0"/>
                    </a:solidFill>
                  </a:tcPr>
                </a:tc>
                <a:tc vMerge="1">
                  <a:txBody>
                    <a:bodyPr/>
                    <a:lstStyle/>
                    <a:p>
                      <a:pPr marL="0" indent="0" algn="ctr">
                        <a:buFontTx/>
                        <a:buNone/>
                      </a:pPr>
                      <a:endParaRPr lang="it-IT" sz="1000" dirty="0"/>
                    </a:p>
                  </a:txBody>
                  <a:tcPr anchor="ctr">
                    <a:solidFill>
                      <a:srgbClr val="CBD3E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dirty="0"/>
                        <a:t>- 0,2 €</a:t>
                      </a:r>
                    </a:p>
                  </a:txBody>
                  <a:tcPr anchor="ctr">
                    <a:solidFill>
                      <a:srgbClr val="CBD3E0"/>
                    </a:solidFill>
                  </a:tcPr>
                </a:tc>
                <a:extLst>
                  <a:ext uri="{0D108BD9-81ED-4DB2-BD59-A6C34878D82A}">
                    <a16:rowId xmlns:a16="http://schemas.microsoft.com/office/drawing/2014/main" val="2084046450"/>
                  </a:ext>
                </a:extLst>
              </a:tr>
              <a:tr h="256748">
                <a:tc>
                  <a:txBody>
                    <a:bodyPr/>
                    <a:lstStyle/>
                    <a:p>
                      <a:pPr algn="ctr"/>
                      <a:r>
                        <a:rPr lang="it-IT" sz="1000" b="1" dirty="0">
                          <a:solidFill>
                            <a:srgbClr val="0070C0"/>
                          </a:solidFill>
                        </a:rPr>
                        <a:t>2b</a:t>
                      </a:r>
                      <a:r>
                        <a:rPr lang="it-IT" sz="1000" dirty="0"/>
                        <a:t> via Tunnel</a:t>
                      </a:r>
                    </a:p>
                  </a:txBody>
                  <a:tcPr anchor="ctr">
                    <a:solidFill>
                      <a:srgbClr val="E7EAF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dirty="0"/>
                        <a:t>25</a:t>
                      </a:r>
                    </a:p>
                  </a:txBody>
                  <a:tcPr anchor="ctr">
                    <a:solidFill>
                      <a:srgbClr val="E7EAF0"/>
                    </a:solidFill>
                  </a:tcPr>
                </a:tc>
                <a:tc>
                  <a:txBody>
                    <a:bodyPr/>
                    <a:lstStyle/>
                    <a:p>
                      <a:pPr algn="ctr"/>
                      <a:r>
                        <a:rPr lang="it-IT" sz="1000" dirty="0"/>
                        <a:t>-5 </a:t>
                      </a:r>
                    </a:p>
                  </a:txBody>
                  <a:tcPr anchor="ctr">
                    <a:solidFill>
                      <a:srgbClr val="E7EAF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dirty="0"/>
                        <a:t>2,70 €</a:t>
                      </a:r>
                    </a:p>
                  </a:txBody>
                  <a:tcPr anchor="ctr">
                    <a:solidFill>
                      <a:srgbClr val="E7EAF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dirty="0"/>
                        <a:t>1,90 €</a:t>
                      </a:r>
                    </a:p>
                  </a:txBody>
                  <a:tcPr anchor="ctr">
                    <a:solidFill>
                      <a:srgbClr val="E7EAF0"/>
                    </a:solidFill>
                  </a:tcPr>
                </a:tc>
                <a:extLst>
                  <a:ext uri="{0D108BD9-81ED-4DB2-BD59-A6C34878D82A}">
                    <a16:rowId xmlns:a16="http://schemas.microsoft.com/office/drawing/2014/main" val="4013345219"/>
                  </a:ext>
                </a:extLst>
              </a:tr>
              <a:tr h="226770">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b="1" dirty="0">
                          <a:solidFill>
                            <a:srgbClr val="C00000"/>
                          </a:solidFill>
                        </a:rPr>
                        <a:t>3c</a:t>
                      </a:r>
                      <a:r>
                        <a:rPr lang="it-IT" sz="1000" dirty="0"/>
                        <a:t> via Tunnel</a:t>
                      </a:r>
                    </a:p>
                  </a:txBody>
                  <a:tcPr anchor="ctr">
                    <a:solidFill>
                      <a:srgbClr val="CBD3E0"/>
                    </a:solidFill>
                  </a:tcPr>
                </a:tc>
                <a:tc rowSpan="2">
                  <a:txBody>
                    <a:bodyPr/>
                    <a:lstStyle/>
                    <a:p>
                      <a:pPr marL="0" indent="0" algn="ctr" defTabSz="914400" rtl="0" eaLnBrk="1" latinLnBrk="0" hangingPunct="1">
                        <a:buFontTx/>
                        <a:buNone/>
                      </a:pPr>
                      <a:r>
                        <a:rPr lang="it-IT" sz="1000" kern="1200" dirty="0">
                          <a:solidFill>
                            <a:schemeClr val="dk1"/>
                          </a:solidFill>
                          <a:latin typeface="+mn-lt"/>
                          <a:ea typeface="+mn-ea"/>
                          <a:cs typeface="+mn-cs"/>
                        </a:rPr>
                        <a:t>27</a:t>
                      </a:r>
                    </a:p>
                  </a:txBody>
                  <a:tcPr anchor="ctr">
                    <a:solidFill>
                      <a:srgbClr val="CBD3E0"/>
                    </a:solidFill>
                  </a:tcPr>
                </a:tc>
                <a:tc>
                  <a:txBody>
                    <a:bodyPr/>
                    <a:lstStyle/>
                    <a:p>
                      <a:pPr marL="0" indent="0" algn="ctr">
                        <a:buFontTx/>
                        <a:buNone/>
                      </a:pPr>
                      <a:r>
                        <a:rPr lang="it-IT" sz="1000" dirty="0"/>
                        <a:t>-25</a:t>
                      </a:r>
                    </a:p>
                  </a:txBody>
                  <a:tcPr anchor="ctr">
                    <a:solidFill>
                      <a:srgbClr val="CBD3E0"/>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dirty="0"/>
                        <a:t>2,80 €</a:t>
                      </a:r>
                    </a:p>
                  </a:txBody>
                  <a:tcPr anchor="ctr">
                    <a:solidFill>
                      <a:srgbClr val="CBD3E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dirty="0"/>
                        <a:t>2,80 €</a:t>
                      </a:r>
                    </a:p>
                  </a:txBody>
                  <a:tcPr anchor="ctr">
                    <a:solidFill>
                      <a:srgbClr val="CBD3E0"/>
                    </a:solidFill>
                  </a:tcPr>
                </a:tc>
                <a:extLst>
                  <a:ext uri="{0D108BD9-81ED-4DB2-BD59-A6C34878D82A}">
                    <a16:rowId xmlns:a16="http://schemas.microsoft.com/office/drawing/2014/main" val="1714242407"/>
                  </a:ext>
                </a:extLst>
              </a:tr>
              <a:tr h="226770">
                <a:tc vMerge="1">
                  <a:txBody>
                    <a:bodyPr/>
                    <a:lstStyle/>
                    <a:p>
                      <a:pPr algn="ctr"/>
                      <a:endParaRPr lang="it-IT" sz="1000" dirty="0"/>
                    </a:p>
                  </a:txBody>
                  <a:tcPr/>
                </a:tc>
                <a:tc vMerge="1">
                  <a:txBody>
                    <a:bodyPr/>
                    <a:lstStyle/>
                    <a:p>
                      <a:pPr algn="ctr"/>
                      <a:endParaRPr lang="it-IT"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defTabSz="914400" rtl="0" eaLnBrk="1" latinLnBrk="0" hangingPunct="1">
                        <a:buFontTx/>
                        <a:buNone/>
                      </a:pPr>
                      <a:r>
                        <a:rPr lang="it-IT" sz="1000" kern="1200" dirty="0">
                          <a:solidFill>
                            <a:schemeClr val="dk1"/>
                          </a:solidFill>
                          <a:latin typeface="+mn-lt"/>
                          <a:ea typeface="+mn-ea"/>
                          <a:cs typeface="+mn-cs"/>
                        </a:rPr>
                        <a:t>-31</a:t>
                      </a:r>
                    </a:p>
                  </a:txBody>
                  <a:tcPr anchor="ctr">
                    <a:solidFill>
                      <a:srgbClr val="CBD3E0"/>
                    </a:solidFill>
                  </a:tcPr>
                </a:tc>
                <a:tc vMerge="1">
                  <a:txBody>
                    <a:bodyPr/>
                    <a:lstStyle/>
                    <a:p>
                      <a:pPr marL="0" indent="0" algn="ctr" defTabSz="914400" rtl="0" eaLnBrk="1" latinLnBrk="0" hangingPunct="1">
                        <a:buFontTx/>
                        <a:buNone/>
                      </a:pPr>
                      <a:endParaRPr lang="it-IT" sz="1000" kern="1200" dirty="0">
                        <a:solidFill>
                          <a:schemeClr val="dk1"/>
                        </a:solidFill>
                        <a:latin typeface="+mn-lt"/>
                        <a:ea typeface="+mn-ea"/>
                        <a:cs typeface="+mn-cs"/>
                      </a:endParaRPr>
                    </a:p>
                  </a:txBody>
                  <a:tcPr anchor="ctr">
                    <a:solidFill>
                      <a:srgbClr val="CBD3E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dirty="0"/>
                        <a:t>- 0,4 €</a:t>
                      </a:r>
                    </a:p>
                  </a:txBody>
                  <a:tcPr anchor="ctr">
                    <a:solidFill>
                      <a:srgbClr val="CBD3E0"/>
                    </a:solidFill>
                  </a:tcPr>
                </a:tc>
                <a:extLst>
                  <a:ext uri="{0D108BD9-81ED-4DB2-BD59-A6C34878D82A}">
                    <a16:rowId xmlns:a16="http://schemas.microsoft.com/office/drawing/2014/main" val="1248133891"/>
                  </a:ext>
                </a:extLst>
              </a:tr>
            </a:tbl>
          </a:graphicData>
        </a:graphic>
      </p:graphicFrame>
      <p:sp>
        <p:nvSpPr>
          <p:cNvPr id="23" name="Segnaposto contenuto 2">
            <a:extLst>
              <a:ext uri="{FF2B5EF4-FFF2-40B4-BE49-F238E27FC236}">
                <a16:creationId xmlns:a16="http://schemas.microsoft.com/office/drawing/2014/main" id="{EEE27ECE-DB37-4C11-BA3B-A5D0F6197747}"/>
              </a:ext>
            </a:extLst>
          </p:cNvPr>
          <p:cNvSpPr txBox="1">
            <a:spLocks/>
          </p:cNvSpPr>
          <p:nvPr/>
        </p:nvSpPr>
        <p:spPr bwMode="auto">
          <a:xfrm>
            <a:off x="755678" y="3947231"/>
            <a:ext cx="5281249" cy="35601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60000"/>
              </a:lnSpc>
              <a:spcBef>
                <a:spcPts val="0"/>
              </a:spcBef>
              <a:spcAft>
                <a:spcPts val="1200"/>
              </a:spcAft>
              <a:buFont typeface="Arial" panose="020B0604020202020204" pitchFamily="34" charset="0"/>
              <a:buNone/>
            </a:pPr>
            <a:r>
              <a:rPr lang="it-IT" altLang="it-IT" sz="1400" b="1" dirty="0">
                <a:solidFill>
                  <a:schemeClr val="accent6">
                    <a:lumMod val="10000"/>
                  </a:schemeClr>
                </a:solidFill>
                <a:cs typeface="Arial" panose="020B0604020202020204" pitchFamily="34" charset="0"/>
              </a:rPr>
              <a:t>Tragitti viabilità esistente</a:t>
            </a:r>
          </a:p>
        </p:txBody>
      </p:sp>
      <p:sp>
        <p:nvSpPr>
          <p:cNvPr id="5" name="CasellaDiTesto 4">
            <a:extLst>
              <a:ext uri="{FF2B5EF4-FFF2-40B4-BE49-F238E27FC236}">
                <a16:creationId xmlns:a16="http://schemas.microsoft.com/office/drawing/2014/main" id="{5F179D50-7B2F-4580-88EE-E951EB38F140}"/>
              </a:ext>
            </a:extLst>
          </p:cNvPr>
          <p:cNvSpPr txBox="1"/>
          <p:nvPr/>
        </p:nvSpPr>
        <p:spPr>
          <a:xfrm>
            <a:off x="701609" y="5802185"/>
            <a:ext cx="10873451" cy="570862"/>
          </a:xfrm>
          <a:prstGeom prst="rect">
            <a:avLst/>
          </a:prstGeom>
          <a:noFill/>
        </p:spPr>
        <p:txBody>
          <a:bodyPr wrap="square" rtlCol="0" anchor="ctr">
            <a:spAutoFit/>
          </a:bodyPr>
          <a:lstStyle/>
          <a:p>
            <a:pPr algn="just">
              <a:lnSpc>
                <a:spcPct val="150000"/>
              </a:lnSpc>
            </a:pPr>
            <a:r>
              <a:rPr lang="it-IT" sz="1100" dirty="0">
                <a:solidFill>
                  <a:schemeClr val="accent6">
                    <a:lumMod val="10000"/>
                  </a:schemeClr>
                </a:solidFill>
              </a:rPr>
              <a:t>Il calcolo del pedaggio è stato effettuando considerando una lunghezza della nuova direttrice Val Fontanabuona-A12 pari a 8,8 km (comprensiva del tratto autostradale e del tratto di SP22 oggetto di adeguamento) e applicando una tariffa unitaria pari a 0,08547 €/km. </a:t>
            </a:r>
          </a:p>
        </p:txBody>
      </p:sp>
    </p:spTree>
    <p:extLst>
      <p:ext uri="{BB962C8B-B14F-4D97-AF65-F5344CB8AC3E}">
        <p14:creationId xmlns:p14="http://schemas.microsoft.com/office/powerpoint/2010/main" val="7100694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ttangolo 13">
            <a:extLst>
              <a:ext uri="{FF2B5EF4-FFF2-40B4-BE49-F238E27FC236}">
                <a16:creationId xmlns:a16="http://schemas.microsoft.com/office/drawing/2014/main" id="{6F2B9F3C-34D7-4DA4-8450-9A441E9C8BF1}"/>
              </a:ext>
            </a:extLst>
          </p:cNvPr>
          <p:cNvSpPr/>
          <p:nvPr/>
        </p:nvSpPr>
        <p:spPr>
          <a:xfrm>
            <a:off x="258416" y="825526"/>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5" name="Segnaposto testo 8">
            <a:extLst>
              <a:ext uri="{FF2B5EF4-FFF2-40B4-BE49-F238E27FC236}">
                <a16:creationId xmlns:a16="http://schemas.microsoft.com/office/drawing/2014/main" id="{61F848A5-F247-48CC-BB56-033A79D19DDA}"/>
              </a:ext>
            </a:extLst>
          </p:cNvPr>
          <p:cNvSpPr txBox="1">
            <a:spLocks/>
          </p:cNvSpPr>
          <p:nvPr/>
        </p:nvSpPr>
        <p:spPr>
          <a:xfrm>
            <a:off x="995349" y="1048052"/>
            <a:ext cx="8818137" cy="424056"/>
          </a:xfrm>
          <a:prstGeom prst="rect">
            <a:avLst/>
          </a:prstGeom>
        </p:spPr>
        <p:txBody>
          <a:bodyPr vert="horz" lIns="91440" tIns="45720" rIns="91440" bIns="45720" rtlCol="0" anchor="b">
            <a:no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Gli impegni di Autostrade per l’Italia</a:t>
            </a:r>
          </a:p>
        </p:txBody>
      </p:sp>
      <p:sp>
        <p:nvSpPr>
          <p:cNvPr id="18" name="Ovale 17">
            <a:extLst>
              <a:ext uri="{FF2B5EF4-FFF2-40B4-BE49-F238E27FC236}">
                <a16:creationId xmlns:a16="http://schemas.microsoft.com/office/drawing/2014/main" id="{4FCBB662-5B18-478E-BC75-83DABB0E76B7}"/>
              </a:ext>
            </a:extLst>
          </p:cNvPr>
          <p:cNvSpPr/>
          <p:nvPr/>
        </p:nvSpPr>
        <p:spPr>
          <a:xfrm>
            <a:off x="406164" y="960773"/>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0" name="Titolo 6">
            <a:extLst>
              <a:ext uri="{FF2B5EF4-FFF2-40B4-BE49-F238E27FC236}">
                <a16:creationId xmlns:a16="http://schemas.microsoft.com/office/drawing/2014/main" id="{8DA322BA-42C5-4EC0-893E-E68574B00B9D}"/>
              </a:ext>
            </a:extLst>
          </p:cNvPr>
          <p:cNvSpPr>
            <a:spLocks noGrp="1"/>
          </p:cNvSpPr>
          <p:nvPr>
            <p:ph type="title"/>
          </p:nvPr>
        </p:nvSpPr>
        <p:spPr>
          <a:xfrm>
            <a:off x="258416" y="365783"/>
            <a:ext cx="10515600" cy="418646"/>
          </a:xfrm>
        </p:spPr>
        <p:txBody>
          <a:bodyPr>
            <a:normAutofit fontScale="90000"/>
          </a:bodyPr>
          <a:lstStyle/>
          <a:p>
            <a:r>
              <a:rPr lang="it-IT" sz="3200" b="1" dirty="0"/>
              <a:t>01. Genesi del progetto</a:t>
            </a:r>
          </a:p>
        </p:txBody>
      </p:sp>
      <p:graphicFrame>
        <p:nvGraphicFramePr>
          <p:cNvPr id="3" name="Diagramma 2">
            <a:extLst>
              <a:ext uri="{FF2B5EF4-FFF2-40B4-BE49-F238E27FC236}">
                <a16:creationId xmlns:a16="http://schemas.microsoft.com/office/drawing/2014/main" id="{FB25F5D6-0ABF-497C-9163-5BECCDCC8B45}"/>
              </a:ext>
            </a:extLst>
          </p:cNvPr>
          <p:cNvGraphicFramePr/>
          <p:nvPr>
            <p:extLst>
              <p:ext uri="{D42A27DB-BD31-4B8C-83A1-F6EECF244321}">
                <p14:modId xmlns:p14="http://schemas.microsoft.com/office/powerpoint/2010/main" val="4101552916"/>
              </p:ext>
            </p:extLst>
          </p:nvPr>
        </p:nvGraphicFramePr>
        <p:xfrm>
          <a:off x="1022381" y="1607070"/>
          <a:ext cx="10234624" cy="48453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Elemento grafico 5" descr="Stretta di mano contorno">
            <a:extLst>
              <a:ext uri="{FF2B5EF4-FFF2-40B4-BE49-F238E27FC236}">
                <a16:creationId xmlns:a16="http://schemas.microsoft.com/office/drawing/2014/main" id="{62260C78-7FBB-4149-AA5A-83C806FE640F}"/>
              </a:ext>
            </a:extLst>
          </p:cNvPr>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5349" y="1026908"/>
            <a:ext cx="466344" cy="466344"/>
          </a:xfrm>
          <a:prstGeom prst="rect">
            <a:avLst/>
          </a:prstGeom>
        </p:spPr>
      </p:pic>
    </p:spTree>
    <p:extLst>
      <p:ext uri="{BB962C8B-B14F-4D97-AF65-F5344CB8AC3E}">
        <p14:creationId xmlns:p14="http://schemas.microsoft.com/office/powerpoint/2010/main" val="36230599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magine 11">
            <a:extLst>
              <a:ext uri="{FF2B5EF4-FFF2-40B4-BE49-F238E27FC236}">
                <a16:creationId xmlns:a16="http://schemas.microsoft.com/office/drawing/2014/main" id="{D8F9E23D-A141-4B23-B1AC-E4E2AC8780ED}"/>
              </a:ext>
            </a:extLst>
          </p:cNvPr>
          <p:cNvPicPr>
            <a:picLocks noChangeAspect="1"/>
          </p:cNvPicPr>
          <p:nvPr/>
        </p:nvPicPr>
        <p:blipFill>
          <a:blip r:embed="rId3"/>
          <a:stretch>
            <a:fillRect/>
          </a:stretch>
        </p:blipFill>
        <p:spPr>
          <a:xfrm>
            <a:off x="801267" y="1561342"/>
            <a:ext cx="10712196" cy="3268980"/>
          </a:xfrm>
          <a:prstGeom prst="rect">
            <a:avLst/>
          </a:prstGeom>
        </p:spPr>
      </p:pic>
      <p:sp>
        <p:nvSpPr>
          <p:cNvPr id="14" name="Ovale 13">
            <a:extLst>
              <a:ext uri="{FF2B5EF4-FFF2-40B4-BE49-F238E27FC236}">
                <a16:creationId xmlns:a16="http://schemas.microsoft.com/office/drawing/2014/main" id="{B7F132FA-1CB9-4F69-9E9F-951465FD4237}"/>
              </a:ext>
            </a:extLst>
          </p:cNvPr>
          <p:cNvSpPr/>
          <p:nvPr/>
        </p:nvSpPr>
        <p:spPr>
          <a:xfrm>
            <a:off x="452931" y="1031322"/>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10" name="Elemento grafico 9" descr="Orologio contorno">
            <a:extLst>
              <a:ext uri="{FF2B5EF4-FFF2-40B4-BE49-F238E27FC236}">
                <a16:creationId xmlns:a16="http://schemas.microsoft.com/office/drawing/2014/main" id="{9274313E-61E2-4A51-8D84-BE9A44D53BBF}"/>
              </a:ext>
            </a:extLst>
          </p:cNvPr>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8261" y="1078578"/>
            <a:ext cx="457200" cy="457200"/>
          </a:xfrm>
          <a:prstGeom prst="rect">
            <a:avLst/>
          </a:prstGeom>
        </p:spPr>
      </p:pic>
      <p:sp>
        <p:nvSpPr>
          <p:cNvPr id="5" name="Segnaposto testo 8">
            <a:extLst>
              <a:ext uri="{FF2B5EF4-FFF2-40B4-BE49-F238E27FC236}">
                <a16:creationId xmlns:a16="http://schemas.microsoft.com/office/drawing/2014/main" id="{159E0B95-1159-47B6-93D4-DD9555426108}"/>
              </a:ext>
            </a:extLst>
          </p:cNvPr>
          <p:cNvSpPr txBox="1">
            <a:spLocks/>
          </p:cNvSpPr>
          <p:nvPr/>
        </p:nvSpPr>
        <p:spPr>
          <a:xfrm>
            <a:off x="1022381" y="1093910"/>
            <a:ext cx="10259029" cy="424056"/>
          </a:xfrm>
          <a:prstGeom prst="rect">
            <a:avLst/>
          </a:prstGeom>
        </p:spPr>
        <p:txBody>
          <a:bodyPr vert="horz" lIns="91440" tIns="45720" rIns="91440" bIns="45720" rtlCol="0" anchor="b">
            <a:no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Macrofase 1: Progettazione e iter autorizzativo</a:t>
            </a:r>
            <a:endParaRPr lang="it-IT" sz="2400" b="0" dirty="0">
              <a:solidFill>
                <a:srgbClr val="FF0000"/>
              </a:solidFill>
              <a:latin typeface="+mj-lt"/>
            </a:endParaRPr>
          </a:p>
        </p:txBody>
      </p:sp>
      <p:sp>
        <p:nvSpPr>
          <p:cNvPr id="6" name="Segnaposto contenuto 2">
            <a:extLst>
              <a:ext uri="{FF2B5EF4-FFF2-40B4-BE49-F238E27FC236}">
                <a16:creationId xmlns:a16="http://schemas.microsoft.com/office/drawing/2014/main" id="{1B522F23-A424-4F12-8F10-3D071758CE37}"/>
              </a:ext>
            </a:extLst>
          </p:cNvPr>
          <p:cNvSpPr txBox="1">
            <a:spLocks/>
          </p:cNvSpPr>
          <p:nvPr/>
        </p:nvSpPr>
        <p:spPr>
          <a:xfrm>
            <a:off x="494027" y="1612586"/>
            <a:ext cx="10989426" cy="458852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it-IT" sz="1200" dirty="0">
              <a:solidFill>
                <a:srgbClr val="000000"/>
              </a:solidFill>
            </a:endParaRPr>
          </a:p>
        </p:txBody>
      </p:sp>
      <p:sp>
        <p:nvSpPr>
          <p:cNvPr id="20" name="Titolo 6">
            <a:extLst>
              <a:ext uri="{FF2B5EF4-FFF2-40B4-BE49-F238E27FC236}">
                <a16:creationId xmlns:a16="http://schemas.microsoft.com/office/drawing/2014/main" id="{F4B312A5-AB17-4CA0-905E-D7BAFAB4FFD6}"/>
              </a:ext>
            </a:extLst>
          </p:cNvPr>
          <p:cNvSpPr>
            <a:spLocks noGrp="1"/>
          </p:cNvSpPr>
          <p:nvPr>
            <p:ph type="title"/>
          </p:nvPr>
        </p:nvSpPr>
        <p:spPr>
          <a:xfrm>
            <a:off x="258416" y="361401"/>
            <a:ext cx="10515600" cy="418646"/>
          </a:xfrm>
        </p:spPr>
        <p:txBody>
          <a:bodyPr>
            <a:normAutofit fontScale="90000"/>
          </a:bodyPr>
          <a:lstStyle/>
          <a:p>
            <a:r>
              <a:rPr lang="it-IT" sz="3200" b="1" dirty="0"/>
              <a:t>02. Iter autorizzativo e Cronoprogramma attività</a:t>
            </a:r>
          </a:p>
        </p:txBody>
      </p:sp>
      <p:sp>
        <p:nvSpPr>
          <p:cNvPr id="21" name="Rettangolo 20">
            <a:extLst>
              <a:ext uri="{FF2B5EF4-FFF2-40B4-BE49-F238E27FC236}">
                <a16:creationId xmlns:a16="http://schemas.microsoft.com/office/drawing/2014/main" id="{DDEBEF42-FB5F-40AA-A6A7-5860EC8CB590}"/>
              </a:ext>
            </a:extLst>
          </p:cNvPr>
          <p:cNvSpPr/>
          <p:nvPr/>
        </p:nvSpPr>
        <p:spPr>
          <a:xfrm>
            <a:off x="258416" y="825526"/>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32" name="Gruppo 31">
            <a:extLst>
              <a:ext uri="{FF2B5EF4-FFF2-40B4-BE49-F238E27FC236}">
                <a16:creationId xmlns:a16="http://schemas.microsoft.com/office/drawing/2014/main" id="{D123A10B-DE26-468D-ABC1-C53FAF0DB2AE}"/>
              </a:ext>
            </a:extLst>
          </p:cNvPr>
          <p:cNvGrpSpPr>
            <a:grpSpLocks noChangeAspect="1"/>
          </p:cNvGrpSpPr>
          <p:nvPr/>
        </p:nvGrpSpPr>
        <p:grpSpPr>
          <a:xfrm>
            <a:off x="6805823" y="5438541"/>
            <a:ext cx="835916" cy="552212"/>
            <a:chOff x="5371354" y="936939"/>
            <a:chExt cx="1095521" cy="723709"/>
          </a:xfrm>
        </p:grpSpPr>
        <p:sp>
          <p:nvSpPr>
            <p:cNvPr id="33" name="Rombo 32">
              <a:extLst>
                <a:ext uri="{FF2B5EF4-FFF2-40B4-BE49-F238E27FC236}">
                  <a16:creationId xmlns:a16="http://schemas.microsoft.com/office/drawing/2014/main" id="{91D767CC-03D2-4EA8-855E-8FAE3C0A4572}"/>
                </a:ext>
              </a:extLst>
            </p:cNvPr>
            <p:cNvSpPr/>
            <p:nvPr/>
          </p:nvSpPr>
          <p:spPr>
            <a:xfrm>
              <a:off x="5773265" y="1374897"/>
              <a:ext cx="285750" cy="285751"/>
            </a:xfrm>
            <a:prstGeom prst="diamond">
              <a:avLst/>
            </a:prstGeom>
            <a:solidFill>
              <a:srgbClr val="ED7D31"/>
            </a:solidFill>
            <a:ln w="25400" cap="rnd" cmpd="sng" algn="ctr">
              <a:no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34" name="Rounded Rectangle 67">
              <a:extLst>
                <a:ext uri="{FF2B5EF4-FFF2-40B4-BE49-F238E27FC236}">
                  <a16:creationId xmlns:a16="http://schemas.microsoft.com/office/drawing/2014/main" id="{39E4C61E-0F92-4528-BC1B-CB97E9EFDACB}"/>
                </a:ext>
              </a:extLst>
            </p:cNvPr>
            <p:cNvSpPr/>
            <p:nvPr/>
          </p:nvSpPr>
          <p:spPr>
            <a:xfrm>
              <a:off x="5371354" y="936939"/>
              <a:ext cx="1095521" cy="311981"/>
            </a:xfrm>
            <a:prstGeom prst="round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800" b="1" kern="0" dirty="0">
                  <a:solidFill>
                    <a:prstClr val="black"/>
                  </a:solidFill>
                </a:rPr>
                <a:t>15/02/2022 </a:t>
              </a:r>
              <a:endParaRPr kumimoji="0" lang="it-IT" sz="800" b="1" i="0" u="none" strike="noStrike" kern="0" cap="none" spc="0" normalizeH="0" baseline="0" noProof="0" dirty="0">
                <a:ln>
                  <a:noFill/>
                </a:ln>
                <a:solidFill>
                  <a:prstClr val="black"/>
                </a:solidFill>
                <a:effectLst/>
                <a:uLnTx/>
                <a:uFillTx/>
                <a:ea typeface="+mn-ea"/>
                <a:cs typeface="+mn-cs"/>
              </a:endParaRPr>
            </a:p>
          </p:txBody>
        </p:sp>
      </p:grpSp>
      <p:cxnSp>
        <p:nvCxnSpPr>
          <p:cNvPr id="35" name="Connettore diritto 34">
            <a:extLst>
              <a:ext uri="{FF2B5EF4-FFF2-40B4-BE49-F238E27FC236}">
                <a16:creationId xmlns:a16="http://schemas.microsoft.com/office/drawing/2014/main" id="{E5385123-A031-45AC-978B-A2F1B2F7E9D9}"/>
              </a:ext>
            </a:extLst>
          </p:cNvPr>
          <p:cNvCxnSpPr>
            <a:cxnSpLocks/>
            <a:stCxn id="33" idx="3"/>
            <a:endCxn id="38" idx="1"/>
          </p:cNvCxnSpPr>
          <p:nvPr/>
        </p:nvCxnSpPr>
        <p:spPr>
          <a:xfrm>
            <a:off x="7330529" y="5881735"/>
            <a:ext cx="3042460" cy="3597"/>
          </a:xfrm>
          <a:prstGeom prst="line">
            <a:avLst/>
          </a:prstGeom>
          <a:ln w="38100">
            <a:solidFill>
              <a:schemeClr val="accent2">
                <a:lumMod val="40000"/>
                <a:lumOff val="60000"/>
              </a:schemeClr>
            </a:solidFill>
          </a:ln>
        </p:spPr>
        <p:style>
          <a:lnRef idx="1">
            <a:schemeClr val="accent2"/>
          </a:lnRef>
          <a:fillRef idx="0">
            <a:schemeClr val="accent2"/>
          </a:fillRef>
          <a:effectRef idx="0">
            <a:schemeClr val="accent2"/>
          </a:effectRef>
          <a:fontRef idx="minor">
            <a:schemeClr val="tx1"/>
          </a:fontRef>
        </p:style>
      </p:cxnSp>
      <p:sp>
        <p:nvSpPr>
          <p:cNvPr id="36" name="CasellaDiTesto 35">
            <a:extLst>
              <a:ext uri="{FF2B5EF4-FFF2-40B4-BE49-F238E27FC236}">
                <a16:creationId xmlns:a16="http://schemas.microsoft.com/office/drawing/2014/main" id="{059AE870-FC5B-4A62-B258-93D623B4EDDE}"/>
              </a:ext>
            </a:extLst>
          </p:cNvPr>
          <p:cNvSpPr txBox="1"/>
          <p:nvPr/>
        </p:nvSpPr>
        <p:spPr>
          <a:xfrm>
            <a:off x="8466861" y="5580959"/>
            <a:ext cx="794856" cy="285305"/>
          </a:xfrm>
          <a:prstGeom prst="rect">
            <a:avLst/>
          </a:prstGeom>
          <a:noFill/>
        </p:spPr>
        <p:txBody>
          <a:bodyPr wrap="square" rtlCol="0">
            <a:spAutoFit/>
          </a:bodyPr>
          <a:lstStyle/>
          <a:p>
            <a:r>
              <a:rPr lang="it-IT" sz="1200" dirty="0">
                <a:solidFill>
                  <a:schemeClr val="accent3"/>
                </a:solidFill>
              </a:rPr>
              <a:t>13 MESI</a:t>
            </a:r>
          </a:p>
        </p:txBody>
      </p:sp>
      <p:grpSp>
        <p:nvGrpSpPr>
          <p:cNvPr id="37" name="Gruppo 36">
            <a:extLst>
              <a:ext uri="{FF2B5EF4-FFF2-40B4-BE49-F238E27FC236}">
                <a16:creationId xmlns:a16="http://schemas.microsoft.com/office/drawing/2014/main" id="{AE542F75-974E-4D2F-8AED-BE82B808CA66}"/>
              </a:ext>
            </a:extLst>
          </p:cNvPr>
          <p:cNvGrpSpPr>
            <a:grpSpLocks noChangeAspect="1"/>
          </p:cNvGrpSpPr>
          <p:nvPr/>
        </p:nvGrpSpPr>
        <p:grpSpPr>
          <a:xfrm>
            <a:off x="10073186" y="5451183"/>
            <a:ext cx="835918" cy="543166"/>
            <a:chOff x="10370369" y="1017327"/>
            <a:chExt cx="1095522" cy="711855"/>
          </a:xfrm>
        </p:grpSpPr>
        <p:sp>
          <p:nvSpPr>
            <p:cNvPr id="38" name="Rombo 37">
              <a:extLst>
                <a:ext uri="{FF2B5EF4-FFF2-40B4-BE49-F238E27FC236}">
                  <a16:creationId xmlns:a16="http://schemas.microsoft.com/office/drawing/2014/main" id="{C79CE3C4-0E36-4AD8-97B8-B1EC4FAB73B1}"/>
                </a:ext>
              </a:extLst>
            </p:cNvPr>
            <p:cNvSpPr/>
            <p:nvPr/>
          </p:nvSpPr>
          <p:spPr>
            <a:xfrm>
              <a:off x="10763279" y="1443433"/>
              <a:ext cx="285750" cy="285749"/>
            </a:xfrm>
            <a:prstGeom prst="diamond">
              <a:avLst/>
            </a:prstGeom>
            <a:solidFill>
              <a:srgbClr val="ED7D31"/>
            </a:solidFill>
            <a:ln w="25400" cap="rnd" cmpd="sng" algn="ctr">
              <a:no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9" name="Rounded Rectangle 67">
              <a:extLst>
                <a:ext uri="{FF2B5EF4-FFF2-40B4-BE49-F238E27FC236}">
                  <a16:creationId xmlns:a16="http://schemas.microsoft.com/office/drawing/2014/main" id="{D92BDCCD-672A-4555-98E7-85B9BD5ABC2B}"/>
                </a:ext>
              </a:extLst>
            </p:cNvPr>
            <p:cNvSpPr/>
            <p:nvPr/>
          </p:nvSpPr>
          <p:spPr>
            <a:xfrm>
              <a:off x="10370369" y="1017327"/>
              <a:ext cx="1095522" cy="311980"/>
            </a:xfrm>
            <a:prstGeom prst="round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800" b="1" kern="0" dirty="0">
                  <a:solidFill>
                    <a:prstClr val="black"/>
                  </a:solidFill>
                </a:rPr>
                <a:t>11/03/2023 </a:t>
              </a:r>
              <a:endParaRPr kumimoji="0" lang="it-IT" sz="800" b="1" i="0" u="none" strike="noStrike" kern="0" cap="none" spc="0" normalizeH="0" baseline="0" noProof="0" dirty="0">
                <a:ln>
                  <a:noFill/>
                </a:ln>
                <a:solidFill>
                  <a:prstClr val="black"/>
                </a:solidFill>
                <a:effectLst/>
                <a:uLnTx/>
                <a:uFillTx/>
                <a:ea typeface="+mn-ea"/>
                <a:cs typeface="+mn-cs"/>
              </a:endParaRPr>
            </a:p>
          </p:txBody>
        </p:sp>
      </p:grpSp>
      <p:sp>
        <p:nvSpPr>
          <p:cNvPr id="40" name="CasellaDiTesto 39">
            <a:extLst>
              <a:ext uri="{FF2B5EF4-FFF2-40B4-BE49-F238E27FC236}">
                <a16:creationId xmlns:a16="http://schemas.microsoft.com/office/drawing/2014/main" id="{442E6B64-160E-4253-A00C-3B48E692B44D}"/>
              </a:ext>
            </a:extLst>
          </p:cNvPr>
          <p:cNvSpPr txBox="1"/>
          <p:nvPr/>
        </p:nvSpPr>
        <p:spPr>
          <a:xfrm>
            <a:off x="7276402" y="2632524"/>
            <a:ext cx="635081" cy="206053"/>
          </a:xfrm>
          <a:prstGeom prst="rect">
            <a:avLst/>
          </a:prstGeom>
          <a:noFill/>
        </p:spPr>
        <p:txBody>
          <a:bodyPr wrap="square" rtlCol="0">
            <a:spAutoFit/>
          </a:bodyPr>
          <a:lstStyle/>
          <a:p>
            <a:r>
              <a:rPr lang="it-IT" sz="700" dirty="0">
                <a:solidFill>
                  <a:schemeClr val="accent3"/>
                </a:solidFill>
              </a:rPr>
              <a:t>1,5 MESI</a:t>
            </a:r>
          </a:p>
        </p:txBody>
      </p:sp>
      <p:sp>
        <p:nvSpPr>
          <p:cNvPr id="44" name="CasellaDiTesto 43">
            <a:extLst>
              <a:ext uri="{FF2B5EF4-FFF2-40B4-BE49-F238E27FC236}">
                <a16:creationId xmlns:a16="http://schemas.microsoft.com/office/drawing/2014/main" id="{0FAE4E8D-734B-4BE0-86D4-41121225B491}"/>
              </a:ext>
            </a:extLst>
          </p:cNvPr>
          <p:cNvSpPr txBox="1"/>
          <p:nvPr/>
        </p:nvSpPr>
        <p:spPr>
          <a:xfrm>
            <a:off x="8016377" y="3434040"/>
            <a:ext cx="2000460" cy="206053"/>
          </a:xfrm>
          <a:prstGeom prst="rect">
            <a:avLst/>
          </a:prstGeom>
          <a:noFill/>
        </p:spPr>
        <p:txBody>
          <a:bodyPr wrap="square" rtlCol="0">
            <a:spAutoFit/>
          </a:bodyPr>
          <a:lstStyle/>
          <a:p>
            <a:r>
              <a:rPr lang="it-IT" sz="700" dirty="0">
                <a:solidFill>
                  <a:schemeClr val="accent3"/>
                </a:solidFill>
              </a:rPr>
              <a:t>10,5 MESI (6,5 MESI VIA + 4 MESI CDS)</a:t>
            </a:r>
          </a:p>
        </p:txBody>
      </p:sp>
      <p:sp>
        <p:nvSpPr>
          <p:cNvPr id="46" name="CasellaDiTesto 45">
            <a:extLst>
              <a:ext uri="{FF2B5EF4-FFF2-40B4-BE49-F238E27FC236}">
                <a16:creationId xmlns:a16="http://schemas.microsoft.com/office/drawing/2014/main" id="{F2488D2D-E388-4B44-B400-A42D5158A898}"/>
              </a:ext>
            </a:extLst>
          </p:cNvPr>
          <p:cNvSpPr txBox="1"/>
          <p:nvPr/>
        </p:nvSpPr>
        <p:spPr>
          <a:xfrm>
            <a:off x="9890692" y="4656879"/>
            <a:ext cx="664307" cy="206053"/>
          </a:xfrm>
          <a:prstGeom prst="rect">
            <a:avLst/>
          </a:prstGeom>
          <a:noFill/>
        </p:spPr>
        <p:txBody>
          <a:bodyPr wrap="square" rtlCol="0">
            <a:spAutoFit/>
          </a:bodyPr>
          <a:lstStyle/>
          <a:p>
            <a:r>
              <a:rPr lang="it-IT" sz="700" dirty="0">
                <a:solidFill>
                  <a:schemeClr val="accent3"/>
                </a:solidFill>
              </a:rPr>
              <a:t>3 MESI</a:t>
            </a:r>
          </a:p>
        </p:txBody>
      </p:sp>
      <p:grpSp>
        <p:nvGrpSpPr>
          <p:cNvPr id="49" name="Gruppo 48">
            <a:extLst>
              <a:ext uri="{FF2B5EF4-FFF2-40B4-BE49-F238E27FC236}">
                <a16:creationId xmlns:a16="http://schemas.microsoft.com/office/drawing/2014/main" id="{A5D7AA0C-3D02-41EA-9441-5C5AEB0E2746}"/>
              </a:ext>
            </a:extLst>
          </p:cNvPr>
          <p:cNvGrpSpPr>
            <a:grpSpLocks noChangeAspect="1"/>
          </p:cNvGrpSpPr>
          <p:nvPr/>
        </p:nvGrpSpPr>
        <p:grpSpPr>
          <a:xfrm>
            <a:off x="7532318" y="2913055"/>
            <a:ext cx="851151" cy="184150"/>
            <a:chOff x="5773265" y="1320116"/>
            <a:chExt cx="1870602" cy="404717"/>
          </a:xfrm>
        </p:grpSpPr>
        <p:sp>
          <p:nvSpPr>
            <p:cNvPr id="50" name="Rombo 49">
              <a:extLst>
                <a:ext uri="{FF2B5EF4-FFF2-40B4-BE49-F238E27FC236}">
                  <a16:creationId xmlns:a16="http://schemas.microsoft.com/office/drawing/2014/main" id="{92751ADB-C99C-4E18-B301-DF819879F0B4}"/>
                </a:ext>
              </a:extLst>
            </p:cNvPr>
            <p:cNvSpPr/>
            <p:nvPr/>
          </p:nvSpPr>
          <p:spPr>
            <a:xfrm>
              <a:off x="5773265" y="1374897"/>
              <a:ext cx="285750" cy="285751"/>
            </a:xfrm>
            <a:prstGeom prst="diamond">
              <a:avLst/>
            </a:prstGeom>
            <a:solidFill>
              <a:srgbClr val="ED7D31"/>
            </a:solidFill>
            <a:ln w="25400" cap="rnd" cmpd="sng" algn="ctr">
              <a:no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51" name="Rounded Rectangle 67">
              <a:extLst>
                <a:ext uri="{FF2B5EF4-FFF2-40B4-BE49-F238E27FC236}">
                  <a16:creationId xmlns:a16="http://schemas.microsoft.com/office/drawing/2014/main" id="{E9874844-699E-4AC7-8B49-1FDDB9E3A6C5}"/>
                </a:ext>
              </a:extLst>
            </p:cNvPr>
            <p:cNvSpPr/>
            <p:nvPr/>
          </p:nvSpPr>
          <p:spPr>
            <a:xfrm>
              <a:off x="5916138" y="1320116"/>
              <a:ext cx="1727729" cy="404717"/>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800" b="1" kern="0" dirty="0">
                  <a:solidFill>
                    <a:prstClr val="black"/>
                  </a:solidFill>
                </a:rPr>
                <a:t>31/03/2022 </a:t>
              </a:r>
              <a:endParaRPr kumimoji="0" lang="it-IT" sz="800" b="1" i="0" u="none" strike="noStrike" kern="0" cap="none" spc="0" normalizeH="0" baseline="0" noProof="0" dirty="0">
                <a:ln>
                  <a:noFill/>
                </a:ln>
                <a:solidFill>
                  <a:prstClr val="black"/>
                </a:solidFill>
                <a:effectLst/>
                <a:uLnTx/>
                <a:uFillTx/>
                <a:ea typeface="+mn-ea"/>
                <a:cs typeface="+mn-cs"/>
              </a:endParaRPr>
            </a:p>
          </p:txBody>
        </p:sp>
      </p:grpSp>
      <p:grpSp>
        <p:nvGrpSpPr>
          <p:cNvPr id="52" name="Gruppo 51">
            <a:extLst>
              <a:ext uri="{FF2B5EF4-FFF2-40B4-BE49-F238E27FC236}">
                <a16:creationId xmlns:a16="http://schemas.microsoft.com/office/drawing/2014/main" id="{648FCFF4-788F-46C5-A5C9-0870A3BA54F1}"/>
              </a:ext>
            </a:extLst>
          </p:cNvPr>
          <p:cNvGrpSpPr>
            <a:grpSpLocks noChangeAspect="1"/>
          </p:cNvGrpSpPr>
          <p:nvPr/>
        </p:nvGrpSpPr>
        <p:grpSpPr>
          <a:xfrm>
            <a:off x="10167875" y="3318359"/>
            <a:ext cx="851151" cy="184150"/>
            <a:chOff x="5773265" y="1320116"/>
            <a:chExt cx="1870602" cy="404717"/>
          </a:xfrm>
        </p:grpSpPr>
        <p:sp>
          <p:nvSpPr>
            <p:cNvPr id="53" name="Rombo 52">
              <a:extLst>
                <a:ext uri="{FF2B5EF4-FFF2-40B4-BE49-F238E27FC236}">
                  <a16:creationId xmlns:a16="http://schemas.microsoft.com/office/drawing/2014/main" id="{A6AC8CF1-E782-4FB5-89BB-AC150C025E1E}"/>
                </a:ext>
              </a:extLst>
            </p:cNvPr>
            <p:cNvSpPr/>
            <p:nvPr/>
          </p:nvSpPr>
          <p:spPr>
            <a:xfrm>
              <a:off x="5773265" y="1374897"/>
              <a:ext cx="285750" cy="285751"/>
            </a:xfrm>
            <a:prstGeom prst="diamond">
              <a:avLst/>
            </a:prstGeom>
            <a:solidFill>
              <a:srgbClr val="ED7D31"/>
            </a:solidFill>
            <a:ln w="25400" cap="rnd" cmpd="sng" algn="ctr">
              <a:no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54" name="Rounded Rectangle 67">
              <a:extLst>
                <a:ext uri="{FF2B5EF4-FFF2-40B4-BE49-F238E27FC236}">
                  <a16:creationId xmlns:a16="http://schemas.microsoft.com/office/drawing/2014/main" id="{3BEF500C-ABAD-4DCE-A2A9-0EE7868597C2}"/>
                </a:ext>
              </a:extLst>
            </p:cNvPr>
            <p:cNvSpPr/>
            <p:nvPr/>
          </p:nvSpPr>
          <p:spPr>
            <a:xfrm>
              <a:off x="5916137" y="1320116"/>
              <a:ext cx="1727730" cy="404717"/>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800" b="1" kern="0" dirty="0">
                  <a:solidFill>
                    <a:prstClr val="black"/>
                  </a:solidFill>
                </a:rPr>
                <a:t>09/02/2023 </a:t>
              </a:r>
              <a:endParaRPr kumimoji="0" lang="it-IT" sz="800" b="1" i="0" u="none" strike="noStrike" kern="0" cap="none" spc="0" normalizeH="0" baseline="0" noProof="0" dirty="0">
                <a:ln>
                  <a:noFill/>
                </a:ln>
                <a:solidFill>
                  <a:prstClr val="black"/>
                </a:solidFill>
                <a:effectLst/>
                <a:uLnTx/>
                <a:uFillTx/>
                <a:ea typeface="+mn-ea"/>
                <a:cs typeface="+mn-cs"/>
              </a:endParaRPr>
            </a:p>
          </p:txBody>
        </p:sp>
      </p:grpSp>
      <p:grpSp>
        <p:nvGrpSpPr>
          <p:cNvPr id="76" name="Gruppo 75">
            <a:extLst>
              <a:ext uri="{FF2B5EF4-FFF2-40B4-BE49-F238E27FC236}">
                <a16:creationId xmlns:a16="http://schemas.microsoft.com/office/drawing/2014/main" id="{AF7FCCC5-7B1B-4529-AFE7-945F4CADB780}"/>
              </a:ext>
            </a:extLst>
          </p:cNvPr>
          <p:cNvGrpSpPr>
            <a:grpSpLocks noChangeAspect="1"/>
          </p:cNvGrpSpPr>
          <p:nvPr/>
        </p:nvGrpSpPr>
        <p:grpSpPr>
          <a:xfrm>
            <a:off x="7301707" y="2103860"/>
            <a:ext cx="834403" cy="184150"/>
            <a:chOff x="5773265" y="1320116"/>
            <a:chExt cx="1833795" cy="404717"/>
          </a:xfrm>
        </p:grpSpPr>
        <p:sp>
          <p:nvSpPr>
            <p:cNvPr id="77" name="Rombo 76">
              <a:extLst>
                <a:ext uri="{FF2B5EF4-FFF2-40B4-BE49-F238E27FC236}">
                  <a16:creationId xmlns:a16="http://schemas.microsoft.com/office/drawing/2014/main" id="{D6CB8361-B228-4254-91F6-F3331C20A191}"/>
                </a:ext>
              </a:extLst>
            </p:cNvPr>
            <p:cNvSpPr/>
            <p:nvPr/>
          </p:nvSpPr>
          <p:spPr>
            <a:xfrm>
              <a:off x="5773265" y="1374897"/>
              <a:ext cx="285750" cy="285751"/>
            </a:xfrm>
            <a:prstGeom prst="diamond">
              <a:avLst/>
            </a:prstGeom>
            <a:solidFill>
              <a:srgbClr val="ED7D31"/>
            </a:solidFill>
            <a:ln w="25400" cap="rnd" cmpd="sng" algn="ctr">
              <a:no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78" name="Rounded Rectangle 67">
              <a:extLst>
                <a:ext uri="{FF2B5EF4-FFF2-40B4-BE49-F238E27FC236}">
                  <a16:creationId xmlns:a16="http://schemas.microsoft.com/office/drawing/2014/main" id="{7CE1DAAE-D634-4278-976F-82D91686235B}"/>
                </a:ext>
              </a:extLst>
            </p:cNvPr>
            <p:cNvSpPr/>
            <p:nvPr/>
          </p:nvSpPr>
          <p:spPr>
            <a:xfrm>
              <a:off x="5879330" y="1320116"/>
              <a:ext cx="1727730" cy="404717"/>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800" b="1" kern="0" dirty="0">
                  <a:solidFill>
                    <a:prstClr val="black"/>
                  </a:solidFill>
                </a:rPr>
                <a:t>03/03/2022 </a:t>
              </a:r>
              <a:endParaRPr kumimoji="0" lang="it-IT" sz="800" b="1" i="0" u="none" strike="noStrike" kern="0" cap="none" spc="0" normalizeH="0" baseline="0" noProof="0" dirty="0">
                <a:ln>
                  <a:noFill/>
                </a:ln>
                <a:solidFill>
                  <a:prstClr val="black"/>
                </a:solidFill>
                <a:effectLst/>
                <a:uLnTx/>
                <a:uFillTx/>
                <a:ea typeface="+mn-ea"/>
                <a:cs typeface="+mn-cs"/>
              </a:endParaRPr>
            </a:p>
          </p:txBody>
        </p:sp>
      </p:grpSp>
      <p:grpSp>
        <p:nvGrpSpPr>
          <p:cNvPr id="60" name="Gruppo 59">
            <a:extLst>
              <a:ext uri="{FF2B5EF4-FFF2-40B4-BE49-F238E27FC236}">
                <a16:creationId xmlns:a16="http://schemas.microsoft.com/office/drawing/2014/main" id="{2D5A24EF-F179-4680-9C34-A72EE0FF4504}"/>
              </a:ext>
            </a:extLst>
          </p:cNvPr>
          <p:cNvGrpSpPr>
            <a:grpSpLocks noChangeAspect="1"/>
          </p:cNvGrpSpPr>
          <p:nvPr/>
        </p:nvGrpSpPr>
        <p:grpSpPr>
          <a:xfrm>
            <a:off x="7666606" y="2505354"/>
            <a:ext cx="851151" cy="184150"/>
            <a:chOff x="5773265" y="1320116"/>
            <a:chExt cx="1870602" cy="404717"/>
          </a:xfrm>
        </p:grpSpPr>
        <p:sp>
          <p:nvSpPr>
            <p:cNvPr id="61" name="Rombo 60">
              <a:extLst>
                <a:ext uri="{FF2B5EF4-FFF2-40B4-BE49-F238E27FC236}">
                  <a16:creationId xmlns:a16="http://schemas.microsoft.com/office/drawing/2014/main" id="{237BB267-9B43-4C4A-B74F-C67ECA625DFF}"/>
                </a:ext>
              </a:extLst>
            </p:cNvPr>
            <p:cNvSpPr/>
            <p:nvPr/>
          </p:nvSpPr>
          <p:spPr>
            <a:xfrm>
              <a:off x="5773265" y="1374897"/>
              <a:ext cx="285750" cy="285751"/>
            </a:xfrm>
            <a:prstGeom prst="diamond">
              <a:avLst/>
            </a:prstGeom>
            <a:solidFill>
              <a:srgbClr val="ED7D31"/>
            </a:solidFill>
            <a:ln w="25400" cap="rnd" cmpd="sng" algn="ctr">
              <a:no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62" name="Rounded Rectangle 67">
              <a:extLst>
                <a:ext uri="{FF2B5EF4-FFF2-40B4-BE49-F238E27FC236}">
                  <a16:creationId xmlns:a16="http://schemas.microsoft.com/office/drawing/2014/main" id="{9BAAFE6E-02CB-4583-A0E2-6FC9188C111D}"/>
                </a:ext>
              </a:extLst>
            </p:cNvPr>
            <p:cNvSpPr/>
            <p:nvPr/>
          </p:nvSpPr>
          <p:spPr>
            <a:xfrm>
              <a:off x="5916138" y="1320116"/>
              <a:ext cx="1727729" cy="404717"/>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800" b="1" kern="0" dirty="0">
                  <a:solidFill>
                    <a:prstClr val="black"/>
                  </a:solidFill>
                </a:rPr>
                <a:t>17/04/2022 </a:t>
              </a:r>
              <a:endParaRPr kumimoji="0" lang="it-IT" sz="800" b="1" i="0" u="none" strike="noStrike" kern="0" cap="none" spc="0" normalizeH="0" baseline="0" noProof="0" dirty="0">
                <a:ln>
                  <a:noFill/>
                </a:ln>
                <a:solidFill>
                  <a:prstClr val="black"/>
                </a:solidFill>
                <a:effectLst/>
                <a:uLnTx/>
                <a:uFillTx/>
                <a:ea typeface="+mn-ea"/>
                <a:cs typeface="+mn-cs"/>
              </a:endParaRPr>
            </a:p>
          </p:txBody>
        </p:sp>
      </p:grpSp>
      <p:grpSp>
        <p:nvGrpSpPr>
          <p:cNvPr id="90" name="Gruppo 89">
            <a:extLst>
              <a:ext uri="{FF2B5EF4-FFF2-40B4-BE49-F238E27FC236}">
                <a16:creationId xmlns:a16="http://schemas.microsoft.com/office/drawing/2014/main" id="{50931D1D-6486-4FC7-8FB0-32E494EB7A9C}"/>
              </a:ext>
            </a:extLst>
          </p:cNvPr>
          <p:cNvGrpSpPr>
            <a:grpSpLocks noChangeAspect="1"/>
          </p:cNvGrpSpPr>
          <p:nvPr/>
        </p:nvGrpSpPr>
        <p:grpSpPr>
          <a:xfrm>
            <a:off x="9190305" y="3724596"/>
            <a:ext cx="851151" cy="184150"/>
            <a:chOff x="5773265" y="1320116"/>
            <a:chExt cx="1870602" cy="404717"/>
          </a:xfrm>
        </p:grpSpPr>
        <p:sp>
          <p:nvSpPr>
            <p:cNvPr id="91" name="Rombo 90">
              <a:extLst>
                <a:ext uri="{FF2B5EF4-FFF2-40B4-BE49-F238E27FC236}">
                  <a16:creationId xmlns:a16="http://schemas.microsoft.com/office/drawing/2014/main" id="{9140A94E-B2B2-4755-9407-ACBBA7BBBC40}"/>
                </a:ext>
              </a:extLst>
            </p:cNvPr>
            <p:cNvSpPr/>
            <p:nvPr/>
          </p:nvSpPr>
          <p:spPr>
            <a:xfrm>
              <a:off x="5773265" y="1374897"/>
              <a:ext cx="285750" cy="285751"/>
            </a:xfrm>
            <a:prstGeom prst="diamond">
              <a:avLst/>
            </a:prstGeom>
            <a:solidFill>
              <a:srgbClr val="ED7D31"/>
            </a:solidFill>
            <a:ln w="25400" cap="rnd" cmpd="sng" algn="ctr">
              <a:no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3300"/>
                </a:solidFill>
                <a:effectLst/>
                <a:uLnTx/>
                <a:uFillTx/>
                <a:latin typeface="Calibri"/>
                <a:ea typeface="+mn-ea"/>
                <a:cs typeface="+mn-cs"/>
              </a:endParaRPr>
            </a:p>
          </p:txBody>
        </p:sp>
        <p:sp>
          <p:nvSpPr>
            <p:cNvPr id="92" name="Rounded Rectangle 67">
              <a:extLst>
                <a:ext uri="{FF2B5EF4-FFF2-40B4-BE49-F238E27FC236}">
                  <a16:creationId xmlns:a16="http://schemas.microsoft.com/office/drawing/2014/main" id="{C2D38B11-B494-4740-9127-3B9A94B0BAEB}"/>
                </a:ext>
              </a:extLst>
            </p:cNvPr>
            <p:cNvSpPr/>
            <p:nvPr/>
          </p:nvSpPr>
          <p:spPr>
            <a:xfrm>
              <a:off x="5916138" y="1320116"/>
              <a:ext cx="1727729" cy="404717"/>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800" b="1" kern="0" dirty="0">
                  <a:solidFill>
                    <a:srgbClr val="003300"/>
                  </a:solidFill>
                </a:rPr>
                <a:t>15/10/2022 </a:t>
              </a:r>
              <a:endParaRPr kumimoji="0" lang="it-IT" sz="800" b="1" i="0" u="none" strike="noStrike" kern="0" cap="none" spc="0" normalizeH="0" baseline="0" noProof="0" dirty="0">
                <a:ln>
                  <a:noFill/>
                </a:ln>
                <a:solidFill>
                  <a:srgbClr val="003300"/>
                </a:solidFill>
                <a:effectLst/>
                <a:uLnTx/>
                <a:uFillTx/>
                <a:ea typeface="+mn-ea"/>
                <a:cs typeface="+mn-cs"/>
              </a:endParaRPr>
            </a:p>
          </p:txBody>
        </p:sp>
      </p:grpSp>
      <p:grpSp>
        <p:nvGrpSpPr>
          <p:cNvPr id="93" name="Gruppo 92">
            <a:extLst>
              <a:ext uri="{FF2B5EF4-FFF2-40B4-BE49-F238E27FC236}">
                <a16:creationId xmlns:a16="http://schemas.microsoft.com/office/drawing/2014/main" id="{533883FF-4B30-4D29-A48E-A99D13172205}"/>
              </a:ext>
            </a:extLst>
          </p:cNvPr>
          <p:cNvGrpSpPr>
            <a:grpSpLocks noChangeAspect="1"/>
          </p:cNvGrpSpPr>
          <p:nvPr/>
        </p:nvGrpSpPr>
        <p:grpSpPr>
          <a:xfrm>
            <a:off x="10170990" y="4124620"/>
            <a:ext cx="851151" cy="184150"/>
            <a:chOff x="5773265" y="1320116"/>
            <a:chExt cx="1870602" cy="404717"/>
          </a:xfrm>
        </p:grpSpPr>
        <p:sp>
          <p:nvSpPr>
            <p:cNvPr id="94" name="Rombo 93">
              <a:extLst>
                <a:ext uri="{FF2B5EF4-FFF2-40B4-BE49-F238E27FC236}">
                  <a16:creationId xmlns:a16="http://schemas.microsoft.com/office/drawing/2014/main" id="{12C256F7-D722-4DC3-87EF-031AE75975A3}"/>
                </a:ext>
              </a:extLst>
            </p:cNvPr>
            <p:cNvSpPr/>
            <p:nvPr/>
          </p:nvSpPr>
          <p:spPr>
            <a:xfrm>
              <a:off x="5773265" y="1374897"/>
              <a:ext cx="285750" cy="285751"/>
            </a:xfrm>
            <a:prstGeom prst="diamond">
              <a:avLst/>
            </a:prstGeom>
            <a:solidFill>
              <a:srgbClr val="ED7D31"/>
            </a:solidFill>
            <a:ln w="25400" cap="rnd" cmpd="sng" algn="ctr">
              <a:no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95" name="Rounded Rectangle 67">
              <a:extLst>
                <a:ext uri="{FF2B5EF4-FFF2-40B4-BE49-F238E27FC236}">
                  <a16:creationId xmlns:a16="http://schemas.microsoft.com/office/drawing/2014/main" id="{AA68BD42-275D-45D3-AA5A-48CE327F7778}"/>
                </a:ext>
              </a:extLst>
            </p:cNvPr>
            <p:cNvSpPr/>
            <p:nvPr/>
          </p:nvSpPr>
          <p:spPr>
            <a:xfrm>
              <a:off x="5916138" y="1320116"/>
              <a:ext cx="1727729" cy="404717"/>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800" b="1" kern="0" dirty="0">
                  <a:solidFill>
                    <a:prstClr val="black"/>
                  </a:solidFill>
                </a:rPr>
                <a:t>09/02/2023 </a:t>
              </a:r>
              <a:endParaRPr kumimoji="0" lang="it-IT" sz="800" b="1" i="0" u="none" strike="noStrike" kern="0" cap="none" spc="0" normalizeH="0" baseline="0" noProof="0" dirty="0">
                <a:ln>
                  <a:noFill/>
                </a:ln>
                <a:solidFill>
                  <a:prstClr val="black"/>
                </a:solidFill>
                <a:effectLst/>
                <a:uLnTx/>
                <a:uFillTx/>
                <a:ea typeface="+mn-ea"/>
                <a:cs typeface="+mn-cs"/>
              </a:endParaRPr>
            </a:p>
          </p:txBody>
        </p:sp>
      </p:grpSp>
      <p:grpSp>
        <p:nvGrpSpPr>
          <p:cNvPr id="96" name="Gruppo 95">
            <a:extLst>
              <a:ext uri="{FF2B5EF4-FFF2-40B4-BE49-F238E27FC236}">
                <a16:creationId xmlns:a16="http://schemas.microsoft.com/office/drawing/2014/main" id="{FE3A7965-03D4-4B66-A100-57C354D6BBC4}"/>
              </a:ext>
            </a:extLst>
          </p:cNvPr>
          <p:cNvGrpSpPr>
            <a:grpSpLocks noChangeAspect="1"/>
          </p:cNvGrpSpPr>
          <p:nvPr/>
        </p:nvGrpSpPr>
        <p:grpSpPr>
          <a:xfrm>
            <a:off x="10416088" y="4526193"/>
            <a:ext cx="851151" cy="168195"/>
            <a:chOff x="5773265" y="1320111"/>
            <a:chExt cx="1870602" cy="369652"/>
          </a:xfrm>
        </p:grpSpPr>
        <p:sp>
          <p:nvSpPr>
            <p:cNvPr id="97" name="Rombo 96">
              <a:extLst>
                <a:ext uri="{FF2B5EF4-FFF2-40B4-BE49-F238E27FC236}">
                  <a16:creationId xmlns:a16="http://schemas.microsoft.com/office/drawing/2014/main" id="{EE4DE4A9-AA05-4985-B2B5-F5D623818038}"/>
                </a:ext>
              </a:extLst>
            </p:cNvPr>
            <p:cNvSpPr/>
            <p:nvPr/>
          </p:nvSpPr>
          <p:spPr>
            <a:xfrm>
              <a:off x="5773265" y="1374897"/>
              <a:ext cx="285750" cy="285751"/>
            </a:xfrm>
            <a:prstGeom prst="diamond">
              <a:avLst/>
            </a:prstGeom>
            <a:solidFill>
              <a:srgbClr val="ED7D31"/>
            </a:solidFill>
            <a:ln w="25400" cap="rnd" cmpd="sng" algn="ctr">
              <a:no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98" name="Rounded Rectangle 67">
              <a:extLst>
                <a:ext uri="{FF2B5EF4-FFF2-40B4-BE49-F238E27FC236}">
                  <a16:creationId xmlns:a16="http://schemas.microsoft.com/office/drawing/2014/main" id="{A3FCE748-3C5F-4639-803A-6A70E4BFCBD2}"/>
                </a:ext>
              </a:extLst>
            </p:cNvPr>
            <p:cNvSpPr/>
            <p:nvPr/>
          </p:nvSpPr>
          <p:spPr>
            <a:xfrm>
              <a:off x="5916138" y="1320111"/>
              <a:ext cx="1727729" cy="369652"/>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800" b="1" kern="0" dirty="0">
                  <a:solidFill>
                    <a:prstClr val="black"/>
                  </a:solidFill>
                </a:rPr>
                <a:t>11/03/2023 </a:t>
              </a:r>
              <a:endParaRPr kumimoji="0" lang="it-IT" sz="800" b="1" i="0" u="none" strike="noStrike" kern="0" cap="none" spc="0" normalizeH="0" baseline="0" noProof="0" dirty="0">
                <a:ln>
                  <a:noFill/>
                </a:ln>
                <a:solidFill>
                  <a:prstClr val="black"/>
                </a:solidFill>
                <a:effectLst/>
                <a:uLnTx/>
                <a:uFillTx/>
                <a:ea typeface="+mn-ea"/>
                <a:cs typeface="+mn-cs"/>
              </a:endParaRPr>
            </a:p>
          </p:txBody>
        </p:sp>
      </p:grpSp>
      <p:sp>
        <p:nvSpPr>
          <p:cNvPr id="56" name="CasellaDiTesto 55">
            <a:extLst>
              <a:ext uri="{FF2B5EF4-FFF2-40B4-BE49-F238E27FC236}">
                <a16:creationId xmlns:a16="http://schemas.microsoft.com/office/drawing/2014/main" id="{B487B74B-21B6-4BAF-ADE5-51A65EC4DC62}"/>
              </a:ext>
            </a:extLst>
          </p:cNvPr>
          <p:cNvSpPr txBox="1"/>
          <p:nvPr/>
        </p:nvSpPr>
        <p:spPr>
          <a:xfrm>
            <a:off x="8185603" y="3846663"/>
            <a:ext cx="664307" cy="206053"/>
          </a:xfrm>
          <a:prstGeom prst="rect">
            <a:avLst/>
          </a:prstGeom>
          <a:noFill/>
        </p:spPr>
        <p:txBody>
          <a:bodyPr wrap="square" rtlCol="0">
            <a:spAutoFit/>
          </a:bodyPr>
          <a:lstStyle/>
          <a:p>
            <a:r>
              <a:rPr lang="it-IT" sz="700" dirty="0">
                <a:solidFill>
                  <a:schemeClr val="accent3"/>
                </a:solidFill>
              </a:rPr>
              <a:t>6,5 MESI</a:t>
            </a:r>
          </a:p>
        </p:txBody>
      </p:sp>
      <p:sp>
        <p:nvSpPr>
          <p:cNvPr id="59" name="CasellaDiTesto 58">
            <a:extLst>
              <a:ext uri="{FF2B5EF4-FFF2-40B4-BE49-F238E27FC236}">
                <a16:creationId xmlns:a16="http://schemas.microsoft.com/office/drawing/2014/main" id="{377B27B8-A9D7-454B-B487-F2ED6D82A09D}"/>
              </a:ext>
            </a:extLst>
          </p:cNvPr>
          <p:cNvSpPr txBox="1"/>
          <p:nvPr/>
        </p:nvSpPr>
        <p:spPr>
          <a:xfrm>
            <a:off x="8612249" y="4256306"/>
            <a:ext cx="664307" cy="206053"/>
          </a:xfrm>
          <a:prstGeom prst="rect">
            <a:avLst/>
          </a:prstGeom>
          <a:noFill/>
        </p:spPr>
        <p:txBody>
          <a:bodyPr wrap="square" rtlCol="0">
            <a:spAutoFit/>
          </a:bodyPr>
          <a:lstStyle/>
          <a:p>
            <a:r>
              <a:rPr lang="it-IT" sz="700" dirty="0">
                <a:solidFill>
                  <a:schemeClr val="accent3"/>
                </a:solidFill>
              </a:rPr>
              <a:t>10,5 MESI</a:t>
            </a:r>
          </a:p>
        </p:txBody>
      </p:sp>
      <p:pic>
        <p:nvPicPr>
          <p:cNvPr id="9" name="Elemento grafico 8" descr="Segno di spunta con riempimento a tinta unita">
            <a:extLst>
              <a:ext uri="{FF2B5EF4-FFF2-40B4-BE49-F238E27FC236}">
                <a16:creationId xmlns:a16="http://schemas.microsoft.com/office/drawing/2014/main" id="{5D8034D2-3DFE-4F54-B096-DFC215BF726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8588" y="2029001"/>
            <a:ext cx="329587" cy="329587"/>
          </a:xfrm>
          <a:prstGeom prst="rect">
            <a:avLst/>
          </a:prstGeom>
        </p:spPr>
      </p:pic>
      <p:pic>
        <p:nvPicPr>
          <p:cNvPr id="72" name="Elemento grafico 71" descr="Segno di spunta con riempimento a tinta unita">
            <a:extLst>
              <a:ext uri="{FF2B5EF4-FFF2-40B4-BE49-F238E27FC236}">
                <a16:creationId xmlns:a16="http://schemas.microsoft.com/office/drawing/2014/main" id="{270D0DEC-B65C-4815-8158-203CE80AFB5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4772" y="2870020"/>
            <a:ext cx="329587" cy="329587"/>
          </a:xfrm>
          <a:prstGeom prst="rect">
            <a:avLst/>
          </a:prstGeom>
        </p:spPr>
      </p:pic>
      <p:cxnSp>
        <p:nvCxnSpPr>
          <p:cNvPr id="15" name="Connettore diritto 14">
            <a:extLst>
              <a:ext uri="{FF2B5EF4-FFF2-40B4-BE49-F238E27FC236}">
                <a16:creationId xmlns:a16="http://schemas.microsoft.com/office/drawing/2014/main" id="{BD8626C3-4BB1-449C-9071-8792B27D51C9}"/>
              </a:ext>
            </a:extLst>
          </p:cNvPr>
          <p:cNvCxnSpPr>
            <a:cxnSpLocks/>
          </p:cNvCxnSpPr>
          <p:nvPr/>
        </p:nvCxnSpPr>
        <p:spPr>
          <a:xfrm>
            <a:off x="7589802" y="2019476"/>
            <a:ext cx="0" cy="2952574"/>
          </a:xfrm>
          <a:prstGeom prst="line">
            <a:avLst/>
          </a:prstGeom>
          <a:ln w="12700">
            <a:solidFill>
              <a:srgbClr val="004C7B"/>
            </a:solidFill>
            <a:prstDash val="lgDash"/>
          </a:ln>
        </p:spPr>
        <p:style>
          <a:lnRef idx="1">
            <a:schemeClr val="accent1"/>
          </a:lnRef>
          <a:fillRef idx="0">
            <a:schemeClr val="accent1"/>
          </a:fillRef>
          <a:effectRef idx="0">
            <a:schemeClr val="accent1"/>
          </a:effectRef>
          <a:fontRef idx="minor">
            <a:schemeClr val="tx1"/>
          </a:fontRef>
        </p:style>
      </p:cxnSp>
      <p:sp>
        <p:nvSpPr>
          <p:cNvPr id="24" name="Triangolo isoscele 23">
            <a:extLst>
              <a:ext uri="{FF2B5EF4-FFF2-40B4-BE49-F238E27FC236}">
                <a16:creationId xmlns:a16="http://schemas.microsoft.com/office/drawing/2014/main" id="{E8586821-E751-418E-ACD1-F497998D825C}"/>
              </a:ext>
            </a:extLst>
          </p:cNvPr>
          <p:cNvSpPr/>
          <p:nvPr/>
        </p:nvSpPr>
        <p:spPr>
          <a:xfrm>
            <a:off x="7526660" y="4900679"/>
            <a:ext cx="130017" cy="106217"/>
          </a:xfrm>
          <a:prstGeom prst="triangle">
            <a:avLst/>
          </a:prstGeom>
          <a:solidFill>
            <a:srgbClr val="004C7B"/>
          </a:solidFill>
          <a:ln>
            <a:solidFill>
              <a:srgbClr val="004C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grpSp>
        <p:nvGrpSpPr>
          <p:cNvPr id="25" name="Gruppo 24">
            <a:extLst>
              <a:ext uri="{FF2B5EF4-FFF2-40B4-BE49-F238E27FC236}">
                <a16:creationId xmlns:a16="http://schemas.microsoft.com/office/drawing/2014/main" id="{D719F283-6E33-4119-9F58-7EA02BC01567}"/>
              </a:ext>
            </a:extLst>
          </p:cNvPr>
          <p:cNvGrpSpPr/>
          <p:nvPr/>
        </p:nvGrpSpPr>
        <p:grpSpPr>
          <a:xfrm>
            <a:off x="888057" y="5061748"/>
            <a:ext cx="4468115" cy="1225977"/>
            <a:chOff x="888057" y="5061748"/>
            <a:chExt cx="4468115" cy="1225977"/>
          </a:xfrm>
        </p:grpSpPr>
        <p:grpSp>
          <p:nvGrpSpPr>
            <p:cNvPr id="63" name="Gruppo 62">
              <a:extLst>
                <a:ext uri="{FF2B5EF4-FFF2-40B4-BE49-F238E27FC236}">
                  <a16:creationId xmlns:a16="http://schemas.microsoft.com/office/drawing/2014/main" id="{B9FDC2CE-2909-4FFA-A919-639FEA79C059}"/>
                </a:ext>
              </a:extLst>
            </p:cNvPr>
            <p:cNvGrpSpPr/>
            <p:nvPr/>
          </p:nvGrpSpPr>
          <p:grpSpPr>
            <a:xfrm>
              <a:off x="888057" y="5061748"/>
              <a:ext cx="4468115" cy="1225977"/>
              <a:chOff x="1065417" y="5619952"/>
              <a:chExt cx="4468115" cy="1225977"/>
            </a:xfrm>
          </p:grpSpPr>
          <p:sp>
            <p:nvSpPr>
              <p:cNvPr id="64" name="CasellaDiTesto 63">
                <a:extLst>
                  <a:ext uri="{FF2B5EF4-FFF2-40B4-BE49-F238E27FC236}">
                    <a16:creationId xmlns:a16="http://schemas.microsoft.com/office/drawing/2014/main" id="{05987FA7-261B-4CFC-9B83-E1D5389E74C3}"/>
                  </a:ext>
                </a:extLst>
              </p:cNvPr>
              <p:cNvSpPr txBox="1"/>
              <p:nvPr/>
            </p:nvSpPr>
            <p:spPr>
              <a:xfrm>
                <a:off x="1077761" y="5619952"/>
                <a:ext cx="4455771" cy="1225977"/>
              </a:xfrm>
              <a:prstGeom prst="rect">
                <a:avLst/>
              </a:prstGeom>
              <a:noFill/>
            </p:spPr>
            <p:txBody>
              <a:bodyPr wrap="square" lIns="0" rtlCol="0">
                <a:spAutoFit/>
              </a:bodyPr>
              <a:lstStyle/>
              <a:p>
                <a:pPr>
                  <a:spcBef>
                    <a:spcPts val="1800"/>
                  </a:spcBef>
                  <a:spcAft>
                    <a:spcPts val="800"/>
                  </a:spcAft>
                </a:pPr>
                <a:r>
                  <a:rPr lang="it-IT" sz="1200" b="1" dirty="0">
                    <a:solidFill>
                      <a:schemeClr val="accent6">
                        <a:lumMod val="10000"/>
                      </a:schemeClr>
                    </a:solidFill>
                  </a:rPr>
                  <a:t>Legenda</a:t>
                </a:r>
                <a:endParaRPr lang="it-IT" sz="800" b="1" dirty="0">
                  <a:solidFill>
                    <a:schemeClr val="accent6">
                      <a:lumMod val="10000"/>
                    </a:schemeClr>
                  </a:solidFill>
                </a:endParaRPr>
              </a:p>
              <a:p>
                <a:pPr>
                  <a:lnSpc>
                    <a:spcPts val="1200"/>
                  </a:lnSpc>
                  <a:spcAft>
                    <a:spcPts val="600"/>
                  </a:spcAft>
                </a:pPr>
                <a:r>
                  <a:rPr lang="it-IT" sz="1200" b="1" dirty="0">
                    <a:solidFill>
                      <a:schemeClr val="accent6">
                        <a:lumMod val="10000"/>
                      </a:schemeClr>
                    </a:solidFill>
                  </a:rPr>
                  <a:t>            </a:t>
                </a:r>
                <a:r>
                  <a:rPr lang="it-IT" sz="1200" dirty="0">
                    <a:solidFill>
                      <a:schemeClr val="accent6">
                        <a:lumMod val="10000"/>
                      </a:schemeClr>
                    </a:solidFill>
                  </a:rPr>
                  <a:t>Progettazione - ASPI</a:t>
                </a:r>
              </a:p>
              <a:p>
                <a:pPr>
                  <a:lnSpc>
                    <a:spcPts val="1200"/>
                  </a:lnSpc>
                  <a:spcAft>
                    <a:spcPts val="600"/>
                  </a:spcAft>
                </a:pPr>
                <a:r>
                  <a:rPr lang="it-IT" sz="1200" dirty="0">
                    <a:solidFill>
                      <a:schemeClr val="accent6">
                        <a:lumMod val="10000"/>
                      </a:schemeClr>
                    </a:solidFill>
                  </a:rPr>
                  <a:t>            Iter Autorizzativo – ENTI</a:t>
                </a:r>
              </a:p>
              <a:p>
                <a:pPr>
                  <a:lnSpc>
                    <a:spcPts val="1200"/>
                  </a:lnSpc>
                  <a:spcAft>
                    <a:spcPts val="600"/>
                  </a:spcAft>
                </a:pPr>
                <a:r>
                  <a:rPr lang="it-IT" sz="1200" dirty="0">
                    <a:solidFill>
                      <a:schemeClr val="accent6">
                        <a:lumMod val="10000"/>
                      </a:schemeClr>
                    </a:solidFill>
                  </a:rPr>
                  <a:t>            Milestone </a:t>
                </a:r>
              </a:p>
              <a:p>
                <a:pPr>
                  <a:lnSpc>
                    <a:spcPts val="1200"/>
                  </a:lnSpc>
                  <a:spcAft>
                    <a:spcPts val="600"/>
                  </a:spcAft>
                </a:pPr>
                <a:r>
                  <a:rPr lang="it-IT" sz="1200" dirty="0">
                    <a:solidFill>
                      <a:schemeClr val="accent6">
                        <a:lumMod val="10000"/>
                      </a:schemeClr>
                    </a:solidFill>
                  </a:rPr>
                  <a:t>            Data odierna</a:t>
                </a:r>
              </a:p>
            </p:txBody>
          </p:sp>
          <p:grpSp>
            <p:nvGrpSpPr>
              <p:cNvPr id="65" name="Gruppo 64">
                <a:extLst>
                  <a:ext uri="{FF2B5EF4-FFF2-40B4-BE49-F238E27FC236}">
                    <a16:creationId xmlns:a16="http://schemas.microsoft.com/office/drawing/2014/main" id="{7E8D049A-5E1E-4E5C-A5B9-6B1FAC5C8C5C}"/>
                  </a:ext>
                </a:extLst>
              </p:cNvPr>
              <p:cNvGrpSpPr/>
              <p:nvPr/>
            </p:nvGrpSpPr>
            <p:grpSpPr>
              <a:xfrm>
                <a:off x="1065417" y="5982196"/>
                <a:ext cx="390882" cy="310691"/>
                <a:chOff x="607053" y="6031323"/>
                <a:chExt cx="390882" cy="310691"/>
              </a:xfrm>
            </p:grpSpPr>
            <p:sp>
              <p:nvSpPr>
                <p:cNvPr id="67" name="Rettangolo 66">
                  <a:extLst>
                    <a:ext uri="{FF2B5EF4-FFF2-40B4-BE49-F238E27FC236}">
                      <a16:creationId xmlns:a16="http://schemas.microsoft.com/office/drawing/2014/main" id="{3D0FCC4F-2B93-484F-9A1E-EF8B12D9FEF9}"/>
                    </a:ext>
                  </a:extLst>
                </p:cNvPr>
                <p:cNvSpPr/>
                <p:nvPr/>
              </p:nvSpPr>
              <p:spPr>
                <a:xfrm>
                  <a:off x="607053" y="6227348"/>
                  <a:ext cx="385060" cy="114666"/>
                </a:xfrm>
                <a:prstGeom prst="rect">
                  <a:avLst/>
                </a:prstGeom>
                <a:solidFill>
                  <a:srgbClr val="B9D198"/>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8" name="Rettangolo 67">
                  <a:extLst>
                    <a:ext uri="{FF2B5EF4-FFF2-40B4-BE49-F238E27FC236}">
                      <a16:creationId xmlns:a16="http://schemas.microsoft.com/office/drawing/2014/main" id="{058C8407-2FA9-4124-A6F1-A77E582C7EBB}"/>
                    </a:ext>
                  </a:extLst>
                </p:cNvPr>
                <p:cNvSpPr/>
                <p:nvPr/>
              </p:nvSpPr>
              <p:spPr>
                <a:xfrm>
                  <a:off x="612875" y="6031323"/>
                  <a:ext cx="385060" cy="114666"/>
                </a:xfrm>
                <a:prstGeom prst="rect">
                  <a:avLst/>
                </a:prstGeom>
                <a:solidFill>
                  <a:srgbClr val="17618F"/>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66" name="Rombo 65">
                <a:extLst>
                  <a:ext uri="{FF2B5EF4-FFF2-40B4-BE49-F238E27FC236}">
                    <a16:creationId xmlns:a16="http://schemas.microsoft.com/office/drawing/2014/main" id="{80CD1113-74E1-4AB3-A41D-B9BDFBC0D06B}"/>
                  </a:ext>
                </a:extLst>
              </p:cNvPr>
              <p:cNvSpPr>
                <a:spLocks noChangeAspect="1"/>
              </p:cNvSpPr>
              <p:nvPr/>
            </p:nvSpPr>
            <p:spPr>
              <a:xfrm>
                <a:off x="1178042" y="6376314"/>
                <a:ext cx="159810" cy="159810"/>
              </a:xfrm>
              <a:prstGeom prst="diamond">
                <a:avLst/>
              </a:prstGeom>
              <a:solidFill>
                <a:srgbClr val="ED7D31"/>
              </a:solidFill>
              <a:ln w="25400" cap="rnd" cmpd="sng" algn="ctr">
                <a:no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grpSp>
        <p:sp>
          <p:nvSpPr>
            <p:cNvPr id="81" name="Triangolo isoscele 80">
              <a:extLst>
                <a:ext uri="{FF2B5EF4-FFF2-40B4-BE49-F238E27FC236}">
                  <a16:creationId xmlns:a16="http://schemas.microsoft.com/office/drawing/2014/main" id="{708689B2-B15D-4D85-9E06-635274B1A80F}"/>
                </a:ext>
              </a:extLst>
            </p:cNvPr>
            <p:cNvSpPr/>
            <p:nvPr/>
          </p:nvSpPr>
          <p:spPr>
            <a:xfrm>
              <a:off x="1015578" y="6093280"/>
              <a:ext cx="130017" cy="106217"/>
            </a:xfrm>
            <a:prstGeom prst="triangle">
              <a:avLst/>
            </a:prstGeom>
            <a:solidFill>
              <a:srgbClr val="004C7B"/>
            </a:solidFill>
            <a:ln>
              <a:solidFill>
                <a:srgbClr val="004C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pic>
        <p:nvPicPr>
          <p:cNvPr id="29" name="Elemento grafico 28" descr="Avanzamento rapido con riempimento a tinta unita">
            <a:extLst>
              <a:ext uri="{FF2B5EF4-FFF2-40B4-BE49-F238E27FC236}">
                <a16:creationId xmlns:a16="http://schemas.microsoft.com/office/drawing/2014/main" id="{1B35260E-8880-4EBD-81CB-4C226A14264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5250" y="2469428"/>
            <a:ext cx="329184" cy="329184"/>
          </a:xfrm>
          <a:prstGeom prst="rect">
            <a:avLst/>
          </a:prstGeom>
        </p:spPr>
      </p:pic>
      <p:pic>
        <p:nvPicPr>
          <p:cNvPr id="84" name="Elemento grafico 83" descr="Avanzamento rapido con riempimento a tinta unita">
            <a:extLst>
              <a:ext uri="{FF2B5EF4-FFF2-40B4-BE49-F238E27FC236}">
                <a16:creationId xmlns:a16="http://schemas.microsoft.com/office/drawing/2014/main" id="{43DCDA77-CC81-415E-ABFD-6D3044B35D9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5175" y="3299066"/>
            <a:ext cx="329184" cy="329184"/>
          </a:xfrm>
          <a:prstGeom prst="rect">
            <a:avLst/>
          </a:prstGeom>
        </p:spPr>
      </p:pic>
      <p:sp>
        <p:nvSpPr>
          <p:cNvPr id="88" name="CasellaDiTesto 87">
            <a:extLst>
              <a:ext uri="{FF2B5EF4-FFF2-40B4-BE49-F238E27FC236}">
                <a16:creationId xmlns:a16="http://schemas.microsoft.com/office/drawing/2014/main" id="{EAC76D73-50CB-4EF8-8DBF-502B0002D25F}"/>
              </a:ext>
            </a:extLst>
          </p:cNvPr>
          <p:cNvSpPr txBox="1"/>
          <p:nvPr/>
        </p:nvSpPr>
        <p:spPr>
          <a:xfrm>
            <a:off x="3376088" y="5096265"/>
            <a:ext cx="2537307" cy="779701"/>
          </a:xfrm>
          <a:prstGeom prst="rect">
            <a:avLst/>
          </a:prstGeom>
          <a:noFill/>
        </p:spPr>
        <p:txBody>
          <a:bodyPr wrap="square" lIns="0" rtlCol="0">
            <a:spAutoFit/>
          </a:bodyPr>
          <a:lstStyle/>
          <a:p>
            <a:pPr>
              <a:spcBef>
                <a:spcPts val="1800"/>
              </a:spcBef>
              <a:spcAft>
                <a:spcPts val="800"/>
              </a:spcAft>
            </a:pPr>
            <a:endParaRPr lang="it-IT" sz="800" b="1" dirty="0">
              <a:solidFill>
                <a:schemeClr val="accent6">
                  <a:lumMod val="10000"/>
                </a:schemeClr>
              </a:solidFill>
            </a:endParaRPr>
          </a:p>
          <a:p>
            <a:pPr>
              <a:lnSpc>
                <a:spcPts val="1200"/>
              </a:lnSpc>
              <a:spcAft>
                <a:spcPts val="1200"/>
              </a:spcAft>
            </a:pPr>
            <a:r>
              <a:rPr lang="it-IT" sz="1200" b="1" dirty="0">
                <a:solidFill>
                  <a:schemeClr val="accent6">
                    <a:lumMod val="10000"/>
                  </a:schemeClr>
                </a:solidFill>
              </a:rPr>
              <a:t>            </a:t>
            </a:r>
            <a:r>
              <a:rPr lang="it-IT" sz="1200" dirty="0">
                <a:solidFill>
                  <a:schemeClr val="accent6">
                    <a:lumMod val="10000"/>
                  </a:schemeClr>
                </a:solidFill>
              </a:rPr>
              <a:t>Attività concluse</a:t>
            </a:r>
          </a:p>
          <a:p>
            <a:pPr>
              <a:lnSpc>
                <a:spcPts val="1200"/>
              </a:lnSpc>
              <a:spcAft>
                <a:spcPts val="600"/>
              </a:spcAft>
            </a:pPr>
            <a:r>
              <a:rPr lang="it-IT" sz="1200" dirty="0">
                <a:solidFill>
                  <a:schemeClr val="accent6">
                    <a:lumMod val="10000"/>
                  </a:schemeClr>
                </a:solidFill>
              </a:rPr>
              <a:t>            Attività in corso</a:t>
            </a:r>
          </a:p>
        </p:txBody>
      </p:sp>
      <p:pic>
        <p:nvPicPr>
          <p:cNvPr id="102" name="Elemento grafico 101" descr="Segno di spunta con riempimento a tinta unita">
            <a:extLst>
              <a:ext uri="{FF2B5EF4-FFF2-40B4-BE49-F238E27FC236}">
                <a16:creationId xmlns:a16="http://schemas.microsoft.com/office/drawing/2014/main" id="{4B7EF29A-CF34-4CDA-91CE-B5DAE1A41E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12530" y="5308418"/>
            <a:ext cx="274320" cy="274320"/>
          </a:xfrm>
          <a:prstGeom prst="rect">
            <a:avLst/>
          </a:prstGeom>
        </p:spPr>
      </p:pic>
      <p:pic>
        <p:nvPicPr>
          <p:cNvPr id="103" name="Elemento grafico 102" descr="Avanzamento rapido con riempimento a tinta unita">
            <a:extLst>
              <a:ext uri="{FF2B5EF4-FFF2-40B4-BE49-F238E27FC236}">
                <a16:creationId xmlns:a16="http://schemas.microsoft.com/office/drawing/2014/main" id="{A0C07A3B-B2C6-4F4B-8383-34FFF3C76BB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504396" y="5596041"/>
            <a:ext cx="274320" cy="274320"/>
          </a:xfrm>
          <a:prstGeom prst="rect">
            <a:avLst/>
          </a:prstGeom>
        </p:spPr>
      </p:pic>
    </p:spTree>
    <p:extLst>
      <p:ext uri="{BB962C8B-B14F-4D97-AF65-F5344CB8AC3E}">
        <p14:creationId xmlns:p14="http://schemas.microsoft.com/office/powerpoint/2010/main" val="14509764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07EB4312-2D79-4DB0-B16E-CDD771E47595}"/>
              </a:ext>
            </a:extLst>
          </p:cNvPr>
          <p:cNvPicPr>
            <a:picLocks noChangeAspect="1"/>
          </p:cNvPicPr>
          <p:nvPr/>
        </p:nvPicPr>
        <p:blipFill rotWithShape="1">
          <a:blip r:embed="rId3"/>
          <a:srcRect l="86970"/>
          <a:stretch/>
        </p:blipFill>
        <p:spPr>
          <a:xfrm>
            <a:off x="8830663" y="2025233"/>
            <a:ext cx="2964037" cy="2010050"/>
          </a:xfrm>
          <a:prstGeom prst="rect">
            <a:avLst/>
          </a:prstGeom>
        </p:spPr>
      </p:pic>
      <p:pic>
        <p:nvPicPr>
          <p:cNvPr id="62" name="Immagine 61">
            <a:extLst>
              <a:ext uri="{FF2B5EF4-FFF2-40B4-BE49-F238E27FC236}">
                <a16:creationId xmlns:a16="http://schemas.microsoft.com/office/drawing/2014/main" id="{8129525C-9DBC-4BF9-9E9A-2A9D56C0093B}"/>
              </a:ext>
            </a:extLst>
          </p:cNvPr>
          <p:cNvPicPr>
            <a:picLocks noChangeAspect="1"/>
          </p:cNvPicPr>
          <p:nvPr/>
        </p:nvPicPr>
        <p:blipFill rotWithShape="1">
          <a:blip r:embed="rId3"/>
          <a:srcRect r="63575"/>
          <a:stretch/>
        </p:blipFill>
        <p:spPr>
          <a:xfrm>
            <a:off x="407206" y="2026941"/>
            <a:ext cx="8286014" cy="2010050"/>
          </a:xfrm>
          <a:prstGeom prst="rect">
            <a:avLst/>
          </a:prstGeom>
        </p:spPr>
      </p:pic>
      <p:sp>
        <p:nvSpPr>
          <p:cNvPr id="191" name="Segnaposto testo 8">
            <a:extLst>
              <a:ext uri="{FF2B5EF4-FFF2-40B4-BE49-F238E27FC236}">
                <a16:creationId xmlns:a16="http://schemas.microsoft.com/office/drawing/2014/main" id="{39852AFD-BBD1-4438-AB8C-1438FDE2EF73}"/>
              </a:ext>
            </a:extLst>
          </p:cNvPr>
          <p:cNvSpPr txBox="1">
            <a:spLocks/>
          </p:cNvSpPr>
          <p:nvPr/>
        </p:nvSpPr>
        <p:spPr>
          <a:xfrm>
            <a:off x="1029715" y="1094304"/>
            <a:ext cx="10259029" cy="424056"/>
          </a:xfrm>
          <a:prstGeom prst="rect">
            <a:avLst/>
          </a:prstGeom>
        </p:spPr>
        <p:txBody>
          <a:bodyPr vert="horz" lIns="91440" tIns="45720" rIns="91440" bIns="45720" rtlCol="0" anchor="b">
            <a:no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Macrofase 2: Affidamento ed esecuzione lavori</a:t>
            </a:r>
            <a:endParaRPr lang="it-IT" sz="2400" b="0" dirty="0">
              <a:solidFill>
                <a:srgbClr val="FF0000"/>
              </a:solidFill>
              <a:latin typeface="+mj-lt"/>
            </a:endParaRPr>
          </a:p>
        </p:txBody>
      </p:sp>
      <p:cxnSp>
        <p:nvCxnSpPr>
          <p:cNvPr id="143" name="Connettore diritto 142">
            <a:extLst>
              <a:ext uri="{FF2B5EF4-FFF2-40B4-BE49-F238E27FC236}">
                <a16:creationId xmlns:a16="http://schemas.microsoft.com/office/drawing/2014/main" id="{57CA27C9-4F57-40AA-A95F-6347F1C8F2B6}"/>
              </a:ext>
            </a:extLst>
          </p:cNvPr>
          <p:cNvCxnSpPr>
            <a:cxnSpLocks/>
            <a:stCxn id="103" idx="3"/>
            <a:endCxn id="145" idx="1"/>
          </p:cNvCxnSpPr>
          <p:nvPr/>
        </p:nvCxnSpPr>
        <p:spPr>
          <a:xfrm flipV="1">
            <a:off x="5598900" y="5142261"/>
            <a:ext cx="5883887" cy="16479"/>
          </a:xfrm>
          <a:prstGeom prst="line">
            <a:avLst/>
          </a:prstGeom>
          <a:ln w="38100">
            <a:solidFill>
              <a:schemeClr val="accent2">
                <a:lumMod val="40000"/>
                <a:lumOff val="60000"/>
              </a:schemeClr>
            </a:solidFill>
          </a:ln>
        </p:spPr>
        <p:style>
          <a:lnRef idx="1">
            <a:schemeClr val="accent2"/>
          </a:lnRef>
          <a:fillRef idx="0">
            <a:schemeClr val="accent2"/>
          </a:fillRef>
          <a:effectRef idx="0">
            <a:schemeClr val="accent2"/>
          </a:effectRef>
          <a:fontRef idx="minor">
            <a:schemeClr val="tx1"/>
          </a:fontRef>
        </p:style>
      </p:cxnSp>
      <p:sp>
        <p:nvSpPr>
          <p:cNvPr id="14" name="Ovale 13">
            <a:extLst>
              <a:ext uri="{FF2B5EF4-FFF2-40B4-BE49-F238E27FC236}">
                <a16:creationId xmlns:a16="http://schemas.microsoft.com/office/drawing/2014/main" id="{B7F132FA-1CB9-4F69-9E9F-951465FD4237}"/>
              </a:ext>
            </a:extLst>
          </p:cNvPr>
          <p:cNvSpPr/>
          <p:nvPr/>
        </p:nvSpPr>
        <p:spPr>
          <a:xfrm>
            <a:off x="452931" y="1031322"/>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10" name="Elemento grafico 9" descr="Orologio contorno">
            <a:extLst>
              <a:ext uri="{FF2B5EF4-FFF2-40B4-BE49-F238E27FC236}">
                <a16:creationId xmlns:a16="http://schemas.microsoft.com/office/drawing/2014/main" id="{9274313E-61E2-4A51-8D84-BE9A44D53BBF}"/>
              </a:ext>
            </a:extLst>
          </p:cNvPr>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8261" y="1078578"/>
            <a:ext cx="457200" cy="457200"/>
          </a:xfrm>
          <a:prstGeom prst="rect">
            <a:avLst/>
          </a:prstGeom>
        </p:spPr>
      </p:pic>
      <p:sp>
        <p:nvSpPr>
          <p:cNvPr id="6" name="Segnaposto contenuto 2">
            <a:extLst>
              <a:ext uri="{FF2B5EF4-FFF2-40B4-BE49-F238E27FC236}">
                <a16:creationId xmlns:a16="http://schemas.microsoft.com/office/drawing/2014/main" id="{1B522F23-A424-4F12-8F10-3D071758CE37}"/>
              </a:ext>
            </a:extLst>
          </p:cNvPr>
          <p:cNvSpPr txBox="1">
            <a:spLocks/>
          </p:cNvSpPr>
          <p:nvPr/>
        </p:nvSpPr>
        <p:spPr>
          <a:xfrm>
            <a:off x="494027" y="1612586"/>
            <a:ext cx="10989426" cy="458852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it-IT" sz="1200" dirty="0">
              <a:solidFill>
                <a:srgbClr val="000000"/>
              </a:solidFill>
            </a:endParaRPr>
          </a:p>
        </p:txBody>
      </p:sp>
      <p:sp>
        <p:nvSpPr>
          <p:cNvPr id="20" name="Titolo 6">
            <a:extLst>
              <a:ext uri="{FF2B5EF4-FFF2-40B4-BE49-F238E27FC236}">
                <a16:creationId xmlns:a16="http://schemas.microsoft.com/office/drawing/2014/main" id="{F4B312A5-AB17-4CA0-905E-D7BAFAB4FFD6}"/>
              </a:ext>
            </a:extLst>
          </p:cNvPr>
          <p:cNvSpPr>
            <a:spLocks noGrp="1"/>
          </p:cNvSpPr>
          <p:nvPr>
            <p:ph type="title"/>
          </p:nvPr>
        </p:nvSpPr>
        <p:spPr>
          <a:xfrm>
            <a:off x="258416" y="361401"/>
            <a:ext cx="10515600" cy="418646"/>
          </a:xfrm>
        </p:spPr>
        <p:txBody>
          <a:bodyPr>
            <a:normAutofit fontScale="90000"/>
          </a:bodyPr>
          <a:lstStyle/>
          <a:p>
            <a:r>
              <a:rPr lang="it-IT" sz="3200" b="1" dirty="0"/>
              <a:t>02. Iter autorizzativo e Cronoprogramma attività</a:t>
            </a:r>
          </a:p>
        </p:txBody>
      </p:sp>
      <p:sp>
        <p:nvSpPr>
          <p:cNvPr id="21" name="Rettangolo 20">
            <a:extLst>
              <a:ext uri="{FF2B5EF4-FFF2-40B4-BE49-F238E27FC236}">
                <a16:creationId xmlns:a16="http://schemas.microsoft.com/office/drawing/2014/main" id="{DDEBEF42-FB5F-40AA-A6A7-5860EC8CB590}"/>
              </a:ext>
            </a:extLst>
          </p:cNvPr>
          <p:cNvSpPr/>
          <p:nvPr/>
        </p:nvSpPr>
        <p:spPr>
          <a:xfrm>
            <a:off x="258416" y="825526"/>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63" name="Gruppo 62">
            <a:extLst>
              <a:ext uri="{FF2B5EF4-FFF2-40B4-BE49-F238E27FC236}">
                <a16:creationId xmlns:a16="http://schemas.microsoft.com/office/drawing/2014/main" id="{B9FDC2CE-2909-4FFA-A919-639FEA79C059}"/>
              </a:ext>
            </a:extLst>
          </p:cNvPr>
          <p:cNvGrpSpPr/>
          <p:nvPr/>
        </p:nvGrpSpPr>
        <p:grpSpPr>
          <a:xfrm>
            <a:off x="832811" y="4941236"/>
            <a:ext cx="4468115" cy="995144"/>
            <a:chOff x="1065417" y="5619952"/>
            <a:chExt cx="4468115" cy="995144"/>
          </a:xfrm>
        </p:grpSpPr>
        <p:sp>
          <p:nvSpPr>
            <p:cNvPr id="64" name="CasellaDiTesto 63">
              <a:extLst>
                <a:ext uri="{FF2B5EF4-FFF2-40B4-BE49-F238E27FC236}">
                  <a16:creationId xmlns:a16="http://schemas.microsoft.com/office/drawing/2014/main" id="{05987FA7-261B-4CFC-9B83-E1D5389E74C3}"/>
                </a:ext>
              </a:extLst>
            </p:cNvPr>
            <p:cNvSpPr txBox="1"/>
            <p:nvPr/>
          </p:nvSpPr>
          <p:spPr>
            <a:xfrm>
              <a:off x="1077761" y="5619952"/>
              <a:ext cx="4455771" cy="995144"/>
            </a:xfrm>
            <a:prstGeom prst="rect">
              <a:avLst/>
            </a:prstGeom>
            <a:noFill/>
          </p:spPr>
          <p:txBody>
            <a:bodyPr wrap="square" lIns="0" rtlCol="0">
              <a:spAutoFit/>
            </a:bodyPr>
            <a:lstStyle/>
            <a:p>
              <a:pPr>
                <a:spcBef>
                  <a:spcPts val="1800"/>
                </a:spcBef>
                <a:spcAft>
                  <a:spcPts val="800"/>
                </a:spcAft>
              </a:pPr>
              <a:r>
                <a:rPr lang="it-IT" sz="1200" b="1" dirty="0">
                  <a:solidFill>
                    <a:schemeClr val="accent6">
                      <a:lumMod val="10000"/>
                    </a:schemeClr>
                  </a:solidFill>
                </a:rPr>
                <a:t>Legenda</a:t>
              </a:r>
              <a:endParaRPr lang="it-IT" sz="800" b="1" dirty="0">
                <a:solidFill>
                  <a:schemeClr val="accent6">
                    <a:lumMod val="10000"/>
                  </a:schemeClr>
                </a:solidFill>
              </a:endParaRPr>
            </a:p>
            <a:p>
              <a:pPr>
                <a:lnSpc>
                  <a:spcPts val="1200"/>
                </a:lnSpc>
                <a:spcAft>
                  <a:spcPts val="600"/>
                </a:spcAft>
              </a:pPr>
              <a:r>
                <a:rPr lang="it-IT" sz="1200" b="1" dirty="0">
                  <a:solidFill>
                    <a:schemeClr val="accent6">
                      <a:lumMod val="10000"/>
                    </a:schemeClr>
                  </a:solidFill>
                </a:rPr>
                <a:t>            </a:t>
              </a:r>
              <a:r>
                <a:rPr lang="it-IT" sz="1200" dirty="0">
                  <a:solidFill>
                    <a:schemeClr val="accent6">
                      <a:lumMod val="10000"/>
                    </a:schemeClr>
                  </a:solidFill>
                </a:rPr>
                <a:t>Progettazione - ASPI</a:t>
              </a:r>
            </a:p>
            <a:p>
              <a:pPr>
                <a:lnSpc>
                  <a:spcPts val="1200"/>
                </a:lnSpc>
                <a:spcAft>
                  <a:spcPts val="600"/>
                </a:spcAft>
              </a:pPr>
              <a:r>
                <a:rPr lang="it-IT" sz="1200" dirty="0">
                  <a:solidFill>
                    <a:schemeClr val="accent6">
                      <a:lumMod val="10000"/>
                    </a:schemeClr>
                  </a:solidFill>
                </a:rPr>
                <a:t>            Iter Autorizzativo – ENTI</a:t>
              </a:r>
            </a:p>
            <a:p>
              <a:pPr>
                <a:lnSpc>
                  <a:spcPts val="1200"/>
                </a:lnSpc>
                <a:spcAft>
                  <a:spcPts val="600"/>
                </a:spcAft>
              </a:pPr>
              <a:r>
                <a:rPr lang="it-IT" sz="1200" dirty="0">
                  <a:solidFill>
                    <a:schemeClr val="accent6">
                      <a:lumMod val="10000"/>
                    </a:schemeClr>
                  </a:solidFill>
                </a:rPr>
                <a:t>            Milestone </a:t>
              </a:r>
            </a:p>
          </p:txBody>
        </p:sp>
        <p:grpSp>
          <p:nvGrpSpPr>
            <p:cNvPr id="65" name="Gruppo 64">
              <a:extLst>
                <a:ext uri="{FF2B5EF4-FFF2-40B4-BE49-F238E27FC236}">
                  <a16:creationId xmlns:a16="http://schemas.microsoft.com/office/drawing/2014/main" id="{7E8D049A-5E1E-4E5C-A5B9-6B1FAC5C8C5C}"/>
                </a:ext>
              </a:extLst>
            </p:cNvPr>
            <p:cNvGrpSpPr/>
            <p:nvPr/>
          </p:nvGrpSpPr>
          <p:grpSpPr>
            <a:xfrm>
              <a:off x="1065417" y="5982196"/>
              <a:ext cx="390882" cy="310691"/>
              <a:chOff x="607053" y="6031323"/>
              <a:chExt cx="390882" cy="310691"/>
            </a:xfrm>
          </p:grpSpPr>
          <p:sp>
            <p:nvSpPr>
              <p:cNvPr id="67" name="Rettangolo 66">
                <a:extLst>
                  <a:ext uri="{FF2B5EF4-FFF2-40B4-BE49-F238E27FC236}">
                    <a16:creationId xmlns:a16="http://schemas.microsoft.com/office/drawing/2014/main" id="{3D0FCC4F-2B93-484F-9A1E-EF8B12D9FEF9}"/>
                  </a:ext>
                </a:extLst>
              </p:cNvPr>
              <p:cNvSpPr/>
              <p:nvPr/>
            </p:nvSpPr>
            <p:spPr>
              <a:xfrm>
                <a:off x="607053" y="6227348"/>
                <a:ext cx="385060" cy="114666"/>
              </a:xfrm>
              <a:prstGeom prst="rect">
                <a:avLst/>
              </a:prstGeom>
              <a:solidFill>
                <a:srgbClr val="B9D198"/>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8" name="Rettangolo 67">
                <a:extLst>
                  <a:ext uri="{FF2B5EF4-FFF2-40B4-BE49-F238E27FC236}">
                    <a16:creationId xmlns:a16="http://schemas.microsoft.com/office/drawing/2014/main" id="{058C8407-2FA9-4124-A6F1-A77E582C7EBB}"/>
                  </a:ext>
                </a:extLst>
              </p:cNvPr>
              <p:cNvSpPr/>
              <p:nvPr/>
            </p:nvSpPr>
            <p:spPr>
              <a:xfrm>
                <a:off x="612875" y="6031323"/>
                <a:ext cx="385060" cy="114666"/>
              </a:xfrm>
              <a:prstGeom prst="rect">
                <a:avLst/>
              </a:prstGeom>
              <a:solidFill>
                <a:srgbClr val="17618F"/>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66" name="Rombo 65">
              <a:extLst>
                <a:ext uri="{FF2B5EF4-FFF2-40B4-BE49-F238E27FC236}">
                  <a16:creationId xmlns:a16="http://schemas.microsoft.com/office/drawing/2014/main" id="{80CD1113-74E1-4AB3-A41D-B9BDFBC0D06B}"/>
                </a:ext>
              </a:extLst>
            </p:cNvPr>
            <p:cNvSpPr>
              <a:spLocks noChangeAspect="1"/>
            </p:cNvSpPr>
            <p:nvPr/>
          </p:nvSpPr>
          <p:spPr>
            <a:xfrm>
              <a:off x="1178042" y="6376314"/>
              <a:ext cx="159810" cy="159810"/>
            </a:xfrm>
            <a:prstGeom prst="diamond">
              <a:avLst/>
            </a:prstGeom>
            <a:solidFill>
              <a:srgbClr val="ED7D31"/>
            </a:solidFill>
            <a:ln w="25400" cap="rnd" cmpd="sng" algn="ctr">
              <a:no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grpSp>
      <p:sp>
        <p:nvSpPr>
          <p:cNvPr id="135" name="CasellaDiTesto 134">
            <a:extLst>
              <a:ext uri="{FF2B5EF4-FFF2-40B4-BE49-F238E27FC236}">
                <a16:creationId xmlns:a16="http://schemas.microsoft.com/office/drawing/2014/main" id="{29920FA0-2217-444A-B667-05D8306BB167}"/>
              </a:ext>
            </a:extLst>
          </p:cNvPr>
          <p:cNvSpPr txBox="1"/>
          <p:nvPr/>
        </p:nvSpPr>
        <p:spPr>
          <a:xfrm>
            <a:off x="6833641" y="5751996"/>
            <a:ext cx="776919" cy="246221"/>
          </a:xfrm>
          <a:prstGeom prst="rect">
            <a:avLst/>
          </a:prstGeom>
          <a:noFill/>
        </p:spPr>
        <p:txBody>
          <a:bodyPr wrap="square" rtlCol="0">
            <a:spAutoFit/>
          </a:bodyPr>
          <a:lstStyle/>
          <a:p>
            <a:r>
              <a:rPr lang="it-IT" sz="1000" b="1" dirty="0">
                <a:solidFill>
                  <a:schemeClr val="accent3"/>
                </a:solidFill>
              </a:rPr>
              <a:t>10 MESI</a:t>
            </a:r>
            <a:endParaRPr lang="it-IT" sz="800" b="1" dirty="0">
              <a:solidFill>
                <a:schemeClr val="accent3"/>
              </a:solidFill>
            </a:endParaRPr>
          </a:p>
        </p:txBody>
      </p:sp>
      <p:grpSp>
        <p:nvGrpSpPr>
          <p:cNvPr id="102" name="Gruppo 101">
            <a:extLst>
              <a:ext uri="{FF2B5EF4-FFF2-40B4-BE49-F238E27FC236}">
                <a16:creationId xmlns:a16="http://schemas.microsoft.com/office/drawing/2014/main" id="{D9A6BF54-59A8-4887-8A2A-E5BD550E9F91}"/>
              </a:ext>
            </a:extLst>
          </p:cNvPr>
          <p:cNvGrpSpPr>
            <a:grpSpLocks noChangeAspect="1"/>
          </p:cNvGrpSpPr>
          <p:nvPr/>
        </p:nvGrpSpPr>
        <p:grpSpPr>
          <a:xfrm>
            <a:off x="4721250" y="4778423"/>
            <a:ext cx="877650" cy="486857"/>
            <a:chOff x="4882047" y="1007749"/>
            <a:chExt cx="1176968" cy="652899"/>
          </a:xfrm>
        </p:grpSpPr>
        <p:sp>
          <p:nvSpPr>
            <p:cNvPr id="103" name="Rombo 102">
              <a:extLst>
                <a:ext uri="{FF2B5EF4-FFF2-40B4-BE49-F238E27FC236}">
                  <a16:creationId xmlns:a16="http://schemas.microsoft.com/office/drawing/2014/main" id="{435B037A-34BE-4016-BB34-B649278458C6}"/>
                </a:ext>
              </a:extLst>
            </p:cNvPr>
            <p:cNvSpPr/>
            <p:nvPr/>
          </p:nvSpPr>
          <p:spPr>
            <a:xfrm>
              <a:off x="5773265" y="1374897"/>
              <a:ext cx="285750" cy="285751"/>
            </a:xfrm>
            <a:prstGeom prst="diamond">
              <a:avLst/>
            </a:prstGeom>
            <a:solidFill>
              <a:srgbClr val="ED7D31"/>
            </a:solidFill>
            <a:ln w="25400" cap="rnd" cmpd="sng" algn="ctr">
              <a:no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142" name="Rounded Rectangle 67">
              <a:extLst>
                <a:ext uri="{FF2B5EF4-FFF2-40B4-BE49-F238E27FC236}">
                  <a16:creationId xmlns:a16="http://schemas.microsoft.com/office/drawing/2014/main" id="{F26B6ACA-AB5C-453A-8F3F-0C8DA10A7662}"/>
                </a:ext>
              </a:extLst>
            </p:cNvPr>
            <p:cNvSpPr/>
            <p:nvPr/>
          </p:nvSpPr>
          <p:spPr>
            <a:xfrm>
              <a:off x="4882047" y="1007749"/>
              <a:ext cx="868999" cy="311982"/>
            </a:xfrm>
            <a:prstGeom prst="round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800" b="1" kern="0" dirty="0">
                  <a:solidFill>
                    <a:prstClr val="black"/>
                  </a:solidFill>
                </a:rPr>
                <a:t>11/03/23 </a:t>
              </a:r>
              <a:endParaRPr kumimoji="0" lang="it-IT" sz="800" b="1" i="0" u="none" strike="noStrike" kern="0" cap="none" spc="0" normalizeH="0" baseline="0" noProof="0" dirty="0">
                <a:ln>
                  <a:noFill/>
                </a:ln>
                <a:solidFill>
                  <a:prstClr val="black"/>
                </a:solidFill>
                <a:effectLst/>
                <a:uLnTx/>
                <a:uFillTx/>
                <a:ea typeface="+mn-ea"/>
                <a:cs typeface="+mn-cs"/>
              </a:endParaRPr>
            </a:p>
          </p:txBody>
        </p:sp>
      </p:grpSp>
      <p:grpSp>
        <p:nvGrpSpPr>
          <p:cNvPr id="144" name="Gruppo 143">
            <a:extLst>
              <a:ext uri="{FF2B5EF4-FFF2-40B4-BE49-F238E27FC236}">
                <a16:creationId xmlns:a16="http://schemas.microsoft.com/office/drawing/2014/main" id="{360A7C44-DC40-42A9-9C38-FDC3E2FAB977}"/>
              </a:ext>
            </a:extLst>
          </p:cNvPr>
          <p:cNvGrpSpPr>
            <a:grpSpLocks noChangeAspect="1"/>
          </p:cNvGrpSpPr>
          <p:nvPr/>
        </p:nvGrpSpPr>
        <p:grpSpPr>
          <a:xfrm>
            <a:off x="11246274" y="4773322"/>
            <a:ext cx="648000" cy="475479"/>
            <a:chOff x="10548768" y="1043525"/>
            <a:chExt cx="868997" cy="637639"/>
          </a:xfrm>
        </p:grpSpPr>
        <p:sp>
          <p:nvSpPr>
            <p:cNvPr id="145" name="Rombo 144">
              <a:extLst>
                <a:ext uri="{FF2B5EF4-FFF2-40B4-BE49-F238E27FC236}">
                  <a16:creationId xmlns:a16="http://schemas.microsoft.com/office/drawing/2014/main" id="{94F36D4C-D121-4FA7-A156-8866F20E93F3}"/>
                </a:ext>
              </a:extLst>
            </p:cNvPr>
            <p:cNvSpPr/>
            <p:nvPr/>
          </p:nvSpPr>
          <p:spPr>
            <a:xfrm>
              <a:off x="10865943" y="1395414"/>
              <a:ext cx="285750" cy="285750"/>
            </a:xfrm>
            <a:prstGeom prst="diamond">
              <a:avLst/>
            </a:prstGeom>
            <a:solidFill>
              <a:srgbClr val="ED7D31"/>
            </a:solidFill>
            <a:ln w="25400" cap="rnd" cmpd="sng" algn="ctr">
              <a:no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146" name="Rounded Rectangle 67">
              <a:extLst>
                <a:ext uri="{FF2B5EF4-FFF2-40B4-BE49-F238E27FC236}">
                  <a16:creationId xmlns:a16="http://schemas.microsoft.com/office/drawing/2014/main" id="{5FD62F5E-A8AF-49B3-9114-216301D41858}"/>
                </a:ext>
              </a:extLst>
            </p:cNvPr>
            <p:cNvSpPr/>
            <p:nvPr/>
          </p:nvSpPr>
          <p:spPr>
            <a:xfrm>
              <a:off x="10548768" y="1043525"/>
              <a:ext cx="868997" cy="311981"/>
            </a:xfrm>
            <a:prstGeom prst="roundRect">
              <a:avLst/>
            </a:prstGeom>
            <a:solidFill>
              <a:sysClr val="window" lastClr="FFFFFF">
                <a:lumMod val="85000"/>
              </a:sysClr>
            </a:solidFill>
            <a:ln w="12700" cap="flat" cmpd="sng" algn="ctr">
              <a:noFill/>
              <a:prstDash val="solid"/>
              <a:miter lim="800000"/>
            </a:ln>
            <a:effectLst/>
          </p:spPr>
          <p:txBody>
            <a:bodyPr rtlCol="0" anchor="ctr"/>
            <a:lstStyle/>
            <a:p>
              <a:pPr algn="ctr">
                <a:defRPr/>
              </a:pPr>
              <a:r>
                <a:rPr lang="it-IT" sz="800" b="1" kern="0" dirty="0">
                  <a:solidFill>
                    <a:prstClr val="black"/>
                  </a:solidFill>
                </a:rPr>
                <a:t>12/02/29 </a:t>
              </a:r>
              <a:endParaRPr kumimoji="0" lang="it-IT" sz="800" b="1" i="0" u="none" strike="noStrike" kern="0" cap="none" spc="0" normalizeH="0" baseline="0" noProof="0" dirty="0">
                <a:ln>
                  <a:noFill/>
                </a:ln>
                <a:solidFill>
                  <a:prstClr val="black"/>
                </a:solidFill>
                <a:effectLst/>
                <a:uLnTx/>
                <a:uFillTx/>
                <a:ea typeface="+mn-ea"/>
                <a:cs typeface="+mn-cs"/>
              </a:endParaRPr>
            </a:p>
          </p:txBody>
        </p:sp>
      </p:grpSp>
      <p:sp>
        <p:nvSpPr>
          <p:cNvPr id="147" name="Rombo 146">
            <a:extLst>
              <a:ext uri="{FF2B5EF4-FFF2-40B4-BE49-F238E27FC236}">
                <a16:creationId xmlns:a16="http://schemas.microsoft.com/office/drawing/2014/main" id="{B2CF2CA3-55E1-4D31-8D8A-F71A516E9DC1}"/>
              </a:ext>
            </a:extLst>
          </p:cNvPr>
          <p:cNvSpPr/>
          <p:nvPr/>
        </p:nvSpPr>
        <p:spPr>
          <a:xfrm>
            <a:off x="5869270" y="5048231"/>
            <a:ext cx="213080" cy="213080"/>
          </a:xfrm>
          <a:prstGeom prst="diamond">
            <a:avLst/>
          </a:prstGeom>
          <a:solidFill>
            <a:srgbClr val="ED7D31"/>
          </a:solidFill>
          <a:ln w="25400" cap="rnd" cmpd="sng" algn="ctr">
            <a:no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148" name="Rounded Rectangle 67">
            <a:extLst>
              <a:ext uri="{FF2B5EF4-FFF2-40B4-BE49-F238E27FC236}">
                <a16:creationId xmlns:a16="http://schemas.microsoft.com/office/drawing/2014/main" id="{7204E4F2-EA38-49AB-8075-BAC7A72628F5}"/>
              </a:ext>
            </a:extLst>
          </p:cNvPr>
          <p:cNvSpPr/>
          <p:nvPr/>
        </p:nvSpPr>
        <p:spPr>
          <a:xfrm>
            <a:off x="5687930" y="4792463"/>
            <a:ext cx="648000" cy="232640"/>
          </a:xfrm>
          <a:prstGeom prst="round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800" b="1" kern="0" dirty="0">
                <a:solidFill>
                  <a:prstClr val="black"/>
                </a:solidFill>
              </a:rPr>
              <a:t>10/05/23 </a:t>
            </a:r>
            <a:endParaRPr kumimoji="0" lang="it-IT" sz="800" b="1" i="0" u="none" strike="noStrike" kern="0" cap="none" spc="0" normalizeH="0" baseline="0" noProof="0" dirty="0">
              <a:ln>
                <a:noFill/>
              </a:ln>
              <a:solidFill>
                <a:prstClr val="black"/>
              </a:solidFill>
              <a:effectLst/>
              <a:uLnTx/>
              <a:uFillTx/>
              <a:ea typeface="+mn-ea"/>
              <a:cs typeface="+mn-cs"/>
            </a:endParaRPr>
          </a:p>
        </p:txBody>
      </p:sp>
      <p:sp>
        <p:nvSpPr>
          <p:cNvPr id="151" name="Rounded Rectangle 67">
            <a:extLst>
              <a:ext uri="{FF2B5EF4-FFF2-40B4-BE49-F238E27FC236}">
                <a16:creationId xmlns:a16="http://schemas.microsoft.com/office/drawing/2014/main" id="{F10A9679-1800-4664-9506-4D86F6160F00}"/>
              </a:ext>
            </a:extLst>
          </p:cNvPr>
          <p:cNvSpPr/>
          <p:nvPr/>
        </p:nvSpPr>
        <p:spPr>
          <a:xfrm>
            <a:off x="5462442" y="5323770"/>
            <a:ext cx="1075945" cy="230077"/>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800" b="1" i="0" u="none" strike="noStrike" kern="0" cap="none" spc="0" normalizeH="0" baseline="0" noProof="0" dirty="0">
                <a:ln>
                  <a:noFill/>
                </a:ln>
                <a:solidFill>
                  <a:prstClr val="black"/>
                </a:solidFill>
                <a:effectLst/>
                <a:uLnTx/>
                <a:uFillTx/>
                <a:ea typeface="+mn-ea"/>
                <a:cs typeface="+mn-cs"/>
              </a:rPr>
              <a:t>Affidamento Ipotesi </a:t>
            </a:r>
            <a:r>
              <a:rPr lang="it-IT" sz="800" b="1" kern="0" dirty="0">
                <a:solidFill>
                  <a:prstClr val="black"/>
                </a:solidFill>
              </a:rPr>
              <a:t>1</a:t>
            </a:r>
            <a:endParaRPr kumimoji="0" lang="it-IT" sz="800" b="1" i="0" u="none" strike="noStrike" kern="0" cap="none" spc="0" normalizeH="0" baseline="0" noProof="0" dirty="0">
              <a:ln>
                <a:noFill/>
              </a:ln>
              <a:solidFill>
                <a:prstClr val="black"/>
              </a:solidFill>
              <a:effectLst/>
              <a:uLnTx/>
              <a:uFillTx/>
              <a:ea typeface="+mn-ea"/>
              <a:cs typeface="+mn-cs"/>
            </a:endParaRPr>
          </a:p>
        </p:txBody>
      </p:sp>
      <p:sp>
        <p:nvSpPr>
          <p:cNvPr id="152" name="Freccia bidirezionale orizzontale 151">
            <a:extLst>
              <a:ext uri="{FF2B5EF4-FFF2-40B4-BE49-F238E27FC236}">
                <a16:creationId xmlns:a16="http://schemas.microsoft.com/office/drawing/2014/main" id="{64055657-AC53-4920-9F6F-73CDB0524C39}"/>
              </a:ext>
            </a:extLst>
          </p:cNvPr>
          <p:cNvSpPr/>
          <p:nvPr/>
        </p:nvSpPr>
        <p:spPr>
          <a:xfrm>
            <a:off x="5972607" y="5679563"/>
            <a:ext cx="2488949" cy="45719"/>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53" name="Gruppo 152">
            <a:extLst>
              <a:ext uri="{FF2B5EF4-FFF2-40B4-BE49-F238E27FC236}">
                <a16:creationId xmlns:a16="http://schemas.microsoft.com/office/drawing/2014/main" id="{8FD8B2C0-D125-4ECA-99E1-65208A82AF37}"/>
              </a:ext>
            </a:extLst>
          </p:cNvPr>
          <p:cNvGrpSpPr>
            <a:grpSpLocks noChangeAspect="1"/>
          </p:cNvGrpSpPr>
          <p:nvPr/>
        </p:nvGrpSpPr>
        <p:grpSpPr>
          <a:xfrm>
            <a:off x="8065238" y="4770337"/>
            <a:ext cx="648000" cy="475478"/>
            <a:chOff x="10402154" y="1043526"/>
            <a:chExt cx="868997" cy="637638"/>
          </a:xfrm>
        </p:grpSpPr>
        <p:sp>
          <p:nvSpPr>
            <p:cNvPr id="154" name="Rombo 153">
              <a:extLst>
                <a:ext uri="{FF2B5EF4-FFF2-40B4-BE49-F238E27FC236}">
                  <a16:creationId xmlns:a16="http://schemas.microsoft.com/office/drawing/2014/main" id="{3FC53B95-57EA-4655-98F8-6AFAF503DED9}"/>
                </a:ext>
              </a:extLst>
            </p:cNvPr>
            <p:cNvSpPr/>
            <p:nvPr/>
          </p:nvSpPr>
          <p:spPr>
            <a:xfrm>
              <a:off x="10789302" y="1395414"/>
              <a:ext cx="285750" cy="285750"/>
            </a:xfrm>
            <a:prstGeom prst="diamond">
              <a:avLst/>
            </a:prstGeom>
            <a:solidFill>
              <a:srgbClr val="ED7D31"/>
            </a:solidFill>
            <a:ln w="25400" cap="rnd" cmpd="sng" algn="ctr">
              <a:no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155" name="Rounded Rectangle 67">
              <a:extLst>
                <a:ext uri="{FF2B5EF4-FFF2-40B4-BE49-F238E27FC236}">
                  <a16:creationId xmlns:a16="http://schemas.microsoft.com/office/drawing/2014/main" id="{BE2E2C48-4E29-468F-B7B5-8F22405676CD}"/>
                </a:ext>
              </a:extLst>
            </p:cNvPr>
            <p:cNvSpPr/>
            <p:nvPr/>
          </p:nvSpPr>
          <p:spPr>
            <a:xfrm>
              <a:off x="10402154" y="1043526"/>
              <a:ext cx="868997" cy="311981"/>
            </a:xfrm>
            <a:prstGeom prst="round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800" b="1" kern="0" dirty="0">
                  <a:solidFill>
                    <a:prstClr val="black"/>
                  </a:solidFill>
                </a:rPr>
                <a:t>10/03/24 </a:t>
              </a:r>
              <a:endParaRPr kumimoji="0" lang="it-IT" sz="800" b="1" i="0" u="none" strike="noStrike" kern="0" cap="none" spc="0" normalizeH="0" baseline="0" noProof="0" dirty="0">
                <a:ln>
                  <a:noFill/>
                </a:ln>
                <a:solidFill>
                  <a:prstClr val="black"/>
                </a:solidFill>
                <a:effectLst/>
                <a:uLnTx/>
                <a:uFillTx/>
                <a:ea typeface="+mn-ea"/>
                <a:cs typeface="+mn-cs"/>
              </a:endParaRPr>
            </a:p>
          </p:txBody>
        </p:sp>
      </p:grpSp>
      <p:sp>
        <p:nvSpPr>
          <p:cNvPr id="162" name="Rombo 161">
            <a:extLst>
              <a:ext uri="{FF2B5EF4-FFF2-40B4-BE49-F238E27FC236}">
                <a16:creationId xmlns:a16="http://schemas.microsoft.com/office/drawing/2014/main" id="{62CB9D60-791D-44A5-BBEC-EB9A80617ED5}"/>
              </a:ext>
            </a:extLst>
          </p:cNvPr>
          <p:cNvSpPr/>
          <p:nvPr/>
        </p:nvSpPr>
        <p:spPr>
          <a:xfrm>
            <a:off x="5418346" y="2585089"/>
            <a:ext cx="130020" cy="130019"/>
          </a:xfrm>
          <a:prstGeom prst="diamond">
            <a:avLst/>
          </a:prstGeom>
          <a:solidFill>
            <a:srgbClr val="ED7D31"/>
          </a:solidFill>
          <a:ln w="25400" cap="rnd" cmpd="sng" algn="ctr">
            <a:no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800" b="0" i="0" u="none" strike="noStrike" kern="0" cap="none" spc="0" normalizeH="0" baseline="0" noProof="0">
              <a:ln>
                <a:noFill/>
              </a:ln>
              <a:solidFill>
                <a:prstClr val="white"/>
              </a:solidFill>
              <a:effectLst/>
              <a:uLnTx/>
              <a:uFillTx/>
              <a:latin typeface="Calibri"/>
              <a:ea typeface="+mn-ea"/>
              <a:cs typeface="+mn-cs"/>
            </a:endParaRPr>
          </a:p>
        </p:txBody>
      </p:sp>
      <p:grpSp>
        <p:nvGrpSpPr>
          <p:cNvPr id="164" name="Gruppo 163">
            <a:extLst>
              <a:ext uri="{FF2B5EF4-FFF2-40B4-BE49-F238E27FC236}">
                <a16:creationId xmlns:a16="http://schemas.microsoft.com/office/drawing/2014/main" id="{B0A18220-EA8D-482D-AC80-9A3FE001D2FF}"/>
              </a:ext>
            </a:extLst>
          </p:cNvPr>
          <p:cNvGrpSpPr>
            <a:grpSpLocks noChangeAspect="1"/>
          </p:cNvGrpSpPr>
          <p:nvPr/>
        </p:nvGrpSpPr>
        <p:grpSpPr>
          <a:xfrm>
            <a:off x="5909607" y="2550920"/>
            <a:ext cx="875154" cy="193988"/>
            <a:chOff x="5773265" y="1311485"/>
            <a:chExt cx="1923356" cy="426339"/>
          </a:xfrm>
        </p:grpSpPr>
        <p:sp>
          <p:nvSpPr>
            <p:cNvPr id="165" name="Rombo 164">
              <a:extLst>
                <a:ext uri="{FF2B5EF4-FFF2-40B4-BE49-F238E27FC236}">
                  <a16:creationId xmlns:a16="http://schemas.microsoft.com/office/drawing/2014/main" id="{1A528F0A-517D-4204-9645-748A73579BDF}"/>
                </a:ext>
              </a:extLst>
            </p:cNvPr>
            <p:cNvSpPr/>
            <p:nvPr/>
          </p:nvSpPr>
          <p:spPr>
            <a:xfrm>
              <a:off x="5773265" y="1374897"/>
              <a:ext cx="285750" cy="285751"/>
            </a:xfrm>
            <a:prstGeom prst="diamond">
              <a:avLst/>
            </a:prstGeom>
            <a:solidFill>
              <a:srgbClr val="ED7D31"/>
            </a:solidFill>
            <a:ln w="25400" cap="rnd" cmpd="sng" algn="ctr">
              <a:no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800" b="0" i="0" u="none" strike="noStrike" kern="0" cap="none" spc="0" normalizeH="0" baseline="0" noProof="0">
                <a:ln>
                  <a:noFill/>
                </a:ln>
                <a:solidFill>
                  <a:prstClr val="white"/>
                </a:solidFill>
                <a:effectLst/>
                <a:uLnTx/>
                <a:uFillTx/>
                <a:latin typeface="Calibri"/>
                <a:ea typeface="+mn-ea"/>
                <a:cs typeface="+mn-cs"/>
              </a:endParaRPr>
            </a:p>
          </p:txBody>
        </p:sp>
        <p:sp>
          <p:nvSpPr>
            <p:cNvPr id="166" name="Rounded Rectangle 67">
              <a:extLst>
                <a:ext uri="{FF2B5EF4-FFF2-40B4-BE49-F238E27FC236}">
                  <a16:creationId xmlns:a16="http://schemas.microsoft.com/office/drawing/2014/main" id="{38852438-F0D0-4A9B-A0E6-D48C15873995}"/>
                </a:ext>
              </a:extLst>
            </p:cNvPr>
            <p:cNvSpPr/>
            <p:nvPr/>
          </p:nvSpPr>
          <p:spPr>
            <a:xfrm>
              <a:off x="5920564" y="1311485"/>
              <a:ext cx="1776057" cy="426339"/>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800" b="1" kern="0" dirty="0">
                  <a:solidFill>
                    <a:prstClr val="black"/>
                  </a:solidFill>
                </a:rPr>
                <a:t>10/05/2023</a:t>
              </a:r>
              <a:endParaRPr kumimoji="0" lang="it-IT" sz="800" b="1" i="0" u="none" strike="noStrike" kern="0" cap="none" spc="0" normalizeH="0" baseline="0" noProof="0" dirty="0">
                <a:ln>
                  <a:noFill/>
                </a:ln>
                <a:solidFill>
                  <a:prstClr val="black"/>
                </a:solidFill>
                <a:effectLst/>
                <a:uLnTx/>
                <a:uFillTx/>
                <a:ea typeface="+mn-ea"/>
                <a:cs typeface="+mn-cs"/>
              </a:endParaRPr>
            </a:p>
          </p:txBody>
        </p:sp>
      </p:grpSp>
      <p:cxnSp>
        <p:nvCxnSpPr>
          <p:cNvPr id="28" name="Connettore diritto 27">
            <a:extLst>
              <a:ext uri="{FF2B5EF4-FFF2-40B4-BE49-F238E27FC236}">
                <a16:creationId xmlns:a16="http://schemas.microsoft.com/office/drawing/2014/main" id="{E70EC015-7AF3-440C-B3A7-F44F40B1B821}"/>
              </a:ext>
            </a:extLst>
          </p:cNvPr>
          <p:cNvCxnSpPr>
            <a:cxnSpLocks/>
          </p:cNvCxnSpPr>
          <p:nvPr/>
        </p:nvCxnSpPr>
        <p:spPr>
          <a:xfrm>
            <a:off x="8678315" y="1935126"/>
            <a:ext cx="0" cy="2530549"/>
          </a:xfrm>
          <a:prstGeom prst="line">
            <a:avLst/>
          </a:prstGeom>
          <a:ln w="19050">
            <a:prstDash val="lgDash"/>
          </a:ln>
        </p:spPr>
        <p:style>
          <a:lnRef idx="1">
            <a:schemeClr val="accent1"/>
          </a:lnRef>
          <a:fillRef idx="0">
            <a:schemeClr val="accent1"/>
          </a:fillRef>
          <a:effectRef idx="0">
            <a:schemeClr val="accent1"/>
          </a:effectRef>
          <a:fontRef idx="minor">
            <a:schemeClr val="tx1"/>
          </a:fontRef>
        </p:style>
      </p:cxnSp>
      <p:cxnSp>
        <p:nvCxnSpPr>
          <p:cNvPr id="171" name="Connettore diritto 170">
            <a:extLst>
              <a:ext uri="{FF2B5EF4-FFF2-40B4-BE49-F238E27FC236}">
                <a16:creationId xmlns:a16="http://schemas.microsoft.com/office/drawing/2014/main" id="{47D444EC-94C4-4220-9731-6BAD0EB6F426}"/>
              </a:ext>
            </a:extLst>
          </p:cNvPr>
          <p:cNvCxnSpPr/>
          <p:nvPr/>
        </p:nvCxnSpPr>
        <p:spPr>
          <a:xfrm>
            <a:off x="8836779" y="1935126"/>
            <a:ext cx="0" cy="2530549"/>
          </a:xfrm>
          <a:prstGeom prst="line">
            <a:avLst/>
          </a:prstGeom>
          <a:ln w="19050">
            <a:prstDash val="lgDash"/>
          </a:ln>
        </p:spPr>
        <p:style>
          <a:lnRef idx="1">
            <a:schemeClr val="accent1"/>
          </a:lnRef>
          <a:fillRef idx="0">
            <a:schemeClr val="accent1"/>
          </a:fillRef>
          <a:effectRef idx="0">
            <a:schemeClr val="accent1"/>
          </a:effectRef>
          <a:fontRef idx="minor">
            <a:schemeClr val="tx1"/>
          </a:fontRef>
        </p:style>
      </p:cxnSp>
      <p:grpSp>
        <p:nvGrpSpPr>
          <p:cNvPr id="172" name="Gruppo 171">
            <a:extLst>
              <a:ext uri="{FF2B5EF4-FFF2-40B4-BE49-F238E27FC236}">
                <a16:creationId xmlns:a16="http://schemas.microsoft.com/office/drawing/2014/main" id="{060ED675-0EFC-40A2-8B01-64EE98A29700}"/>
              </a:ext>
            </a:extLst>
          </p:cNvPr>
          <p:cNvGrpSpPr>
            <a:grpSpLocks noChangeAspect="1"/>
          </p:cNvGrpSpPr>
          <p:nvPr/>
        </p:nvGrpSpPr>
        <p:grpSpPr>
          <a:xfrm>
            <a:off x="9008674" y="2942317"/>
            <a:ext cx="875154" cy="193988"/>
            <a:chOff x="5773265" y="1311485"/>
            <a:chExt cx="1923356" cy="426339"/>
          </a:xfrm>
        </p:grpSpPr>
        <p:sp>
          <p:nvSpPr>
            <p:cNvPr id="173" name="Rombo 172">
              <a:extLst>
                <a:ext uri="{FF2B5EF4-FFF2-40B4-BE49-F238E27FC236}">
                  <a16:creationId xmlns:a16="http://schemas.microsoft.com/office/drawing/2014/main" id="{0CEEEAA2-1D6E-4C8C-A3A9-9DFE168531C0}"/>
                </a:ext>
              </a:extLst>
            </p:cNvPr>
            <p:cNvSpPr/>
            <p:nvPr/>
          </p:nvSpPr>
          <p:spPr>
            <a:xfrm>
              <a:off x="5773265" y="1374897"/>
              <a:ext cx="285750" cy="285751"/>
            </a:xfrm>
            <a:prstGeom prst="diamond">
              <a:avLst/>
            </a:prstGeom>
            <a:solidFill>
              <a:srgbClr val="ED7D31"/>
            </a:solidFill>
            <a:ln w="25400" cap="rnd" cmpd="sng" algn="ctr">
              <a:no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800" b="0" i="0" u="none" strike="noStrike" kern="0" cap="none" spc="0" normalizeH="0" baseline="0" noProof="0">
                <a:ln>
                  <a:noFill/>
                </a:ln>
                <a:solidFill>
                  <a:prstClr val="white"/>
                </a:solidFill>
                <a:effectLst/>
                <a:uLnTx/>
                <a:uFillTx/>
                <a:latin typeface="Calibri"/>
                <a:ea typeface="+mn-ea"/>
                <a:cs typeface="+mn-cs"/>
              </a:endParaRPr>
            </a:p>
          </p:txBody>
        </p:sp>
        <p:sp>
          <p:nvSpPr>
            <p:cNvPr id="174" name="Rounded Rectangle 67">
              <a:extLst>
                <a:ext uri="{FF2B5EF4-FFF2-40B4-BE49-F238E27FC236}">
                  <a16:creationId xmlns:a16="http://schemas.microsoft.com/office/drawing/2014/main" id="{23BDDEFC-7E98-4D09-9108-7E2569C8AFD7}"/>
                </a:ext>
              </a:extLst>
            </p:cNvPr>
            <p:cNvSpPr/>
            <p:nvPr/>
          </p:nvSpPr>
          <p:spPr>
            <a:xfrm>
              <a:off x="5920564" y="1311485"/>
              <a:ext cx="1776057" cy="426339"/>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800" b="1" kern="0" dirty="0">
                  <a:solidFill>
                    <a:prstClr val="black"/>
                  </a:solidFill>
                </a:rPr>
                <a:t>13/04/2028</a:t>
              </a:r>
              <a:endParaRPr kumimoji="0" lang="it-IT" sz="800" b="1" i="0" u="none" strike="noStrike" kern="0" cap="none" spc="0" normalizeH="0" baseline="0" noProof="0" dirty="0">
                <a:ln>
                  <a:noFill/>
                </a:ln>
                <a:solidFill>
                  <a:prstClr val="black"/>
                </a:solidFill>
                <a:effectLst/>
                <a:uLnTx/>
                <a:uFillTx/>
                <a:ea typeface="+mn-ea"/>
                <a:cs typeface="+mn-cs"/>
              </a:endParaRPr>
            </a:p>
          </p:txBody>
        </p:sp>
      </p:grpSp>
      <p:grpSp>
        <p:nvGrpSpPr>
          <p:cNvPr id="176" name="Gruppo 175">
            <a:extLst>
              <a:ext uri="{FF2B5EF4-FFF2-40B4-BE49-F238E27FC236}">
                <a16:creationId xmlns:a16="http://schemas.microsoft.com/office/drawing/2014/main" id="{94BCF4B4-AF53-4963-9445-236203B8A3CE}"/>
              </a:ext>
            </a:extLst>
          </p:cNvPr>
          <p:cNvGrpSpPr>
            <a:grpSpLocks noChangeAspect="1"/>
          </p:cNvGrpSpPr>
          <p:nvPr/>
        </p:nvGrpSpPr>
        <p:grpSpPr>
          <a:xfrm>
            <a:off x="8396278" y="3339690"/>
            <a:ext cx="834897" cy="193988"/>
            <a:chOff x="5773265" y="1311485"/>
            <a:chExt cx="1834882" cy="426339"/>
          </a:xfrm>
        </p:grpSpPr>
        <p:sp>
          <p:nvSpPr>
            <p:cNvPr id="177" name="Rombo 176">
              <a:extLst>
                <a:ext uri="{FF2B5EF4-FFF2-40B4-BE49-F238E27FC236}">
                  <a16:creationId xmlns:a16="http://schemas.microsoft.com/office/drawing/2014/main" id="{AAEF1F55-2D07-4BD8-BAF1-3B1981EC2B53}"/>
                </a:ext>
              </a:extLst>
            </p:cNvPr>
            <p:cNvSpPr/>
            <p:nvPr/>
          </p:nvSpPr>
          <p:spPr>
            <a:xfrm>
              <a:off x="5773265" y="1374897"/>
              <a:ext cx="285750" cy="285751"/>
            </a:xfrm>
            <a:prstGeom prst="diamond">
              <a:avLst/>
            </a:prstGeom>
            <a:solidFill>
              <a:srgbClr val="ED7D31"/>
            </a:solidFill>
            <a:ln w="25400" cap="rnd" cmpd="sng" algn="ctr">
              <a:no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800" b="0" i="0" u="none" strike="noStrike" kern="0" cap="none" spc="0" normalizeH="0" baseline="0" noProof="0">
                <a:ln>
                  <a:noFill/>
                </a:ln>
                <a:solidFill>
                  <a:prstClr val="white"/>
                </a:solidFill>
                <a:effectLst/>
                <a:uLnTx/>
                <a:uFillTx/>
                <a:latin typeface="Calibri"/>
                <a:ea typeface="+mn-ea"/>
                <a:cs typeface="+mn-cs"/>
              </a:endParaRPr>
            </a:p>
          </p:txBody>
        </p:sp>
        <p:sp>
          <p:nvSpPr>
            <p:cNvPr id="178" name="Rounded Rectangle 67">
              <a:extLst>
                <a:ext uri="{FF2B5EF4-FFF2-40B4-BE49-F238E27FC236}">
                  <a16:creationId xmlns:a16="http://schemas.microsoft.com/office/drawing/2014/main" id="{E4C68966-B24D-41DE-BE58-E1E60F118492}"/>
                </a:ext>
              </a:extLst>
            </p:cNvPr>
            <p:cNvSpPr/>
            <p:nvPr/>
          </p:nvSpPr>
          <p:spPr>
            <a:xfrm>
              <a:off x="5832090" y="1311485"/>
              <a:ext cx="1776057" cy="426339"/>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800" b="1" kern="0" dirty="0">
                  <a:solidFill>
                    <a:prstClr val="black"/>
                  </a:solidFill>
                </a:rPr>
                <a:t>10/03/2024</a:t>
              </a:r>
              <a:endParaRPr kumimoji="0" lang="it-IT" sz="800" b="1" i="0" u="none" strike="noStrike" kern="0" cap="none" spc="0" normalizeH="0" baseline="0" noProof="0" dirty="0">
                <a:ln>
                  <a:noFill/>
                </a:ln>
                <a:solidFill>
                  <a:prstClr val="black"/>
                </a:solidFill>
                <a:effectLst/>
                <a:uLnTx/>
                <a:uFillTx/>
                <a:ea typeface="+mn-ea"/>
                <a:cs typeface="+mn-cs"/>
              </a:endParaRPr>
            </a:p>
          </p:txBody>
        </p:sp>
      </p:grpSp>
      <p:grpSp>
        <p:nvGrpSpPr>
          <p:cNvPr id="180" name="Gruppo 179">
            <a:extLst>
              <a:ext uri="{FF2B5EF4-FFF2-40B4-BE49-F238E27FC236}">
                <a16:creationId xmlns:a16="http://schemas.microsoft.com/office/drawing/2014/main" id="{6D80C1B7-1172-4225-A34E-746E44783E61}"/>
              </a:ext>
            </a:extLst>
          </p:cNvPr>
          <p:cNvGrpSpPr>
            <a:grpSpLocks noChangeAspect="1"/>
          </p:cNvGrpSpPr>
          <p:nvPr/>
        </p:nvGrpSpPr>
        <p:grpSpPr>
          <a:xfrm>
            <a:off x="11027652" y="3751646"/>
            <a:ext cx="808131" cy="301755"/>
            <a:chOff x="5056092" y="1418585"/>
            <a:chExt cx="1776057" cy="663184"/>
          </a:xfrm>
        </p:grpSpPr>
        <p:sp>
          <p:nvSpPr>
            <p:cNvPr id="181" name="Rombo 180">
              <a:extLst>
                <a:ext uri="{FF2B5EF4-FFF2-40B4-BE49-F238E27FC236}">
                  <a16:creationId xmlns:a16="http://schemas.microsoft.com/office/drawing/2014/main" id="{1F0B9271-7053-4A86-803A-18427F24D354}"/>
                </a:ext>
              </a:extLst>
            </p:cNvPr>
            <p:cNvSpPr/>
            <p:nvPr/>
          </p:nvSpPr>
          <p:spPr>
            <a:xfrm>
              <a:off x="6124094" y="1418585"/>
              <a:ext cx="285749" cy="285750"/>
            </a:xfrm>
            <a:prstGeom prst="diamond">
              <a:avLst/>
            </a:prstGeom>
            <a:solidFill>
              <a:srgbClr val="ED7D31"/>
            </a:solidFill>
            <a:ln w="25400" cap="rnd" cmpd="sng" algn="ctr">
              <a:no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800" b="0" i="0" u="none" strike="noStrike" kern="0" cap="none" spc="0" normalizeH="0" baseline="0" noProof="0">
                <a:ln>
                  <a:noFill/>
                </a:ln>
                <a:solidFill>
                  <a:prstClr val="white"/>
                </a:solidFill>
                <a:effectLst/>
                <a:uLnTx/>
                <a:uFillTx/>
                <a:latin typeface="Calibri"/>
                <a:ea typeface="+mn-ea"/>
                <a:cs typeface="+mn-cs"/>
              </a:endParaRPr>
            </a:p>
          </p:txBody>
        </p:sp>
        <p:sp>
          <p:nvSpPr>
            <p:cNvPr id="182" name="Rounded Rectangle 67">
              <a:extLst>
                <a:ext uri="{FF2B5EF4-FFF2-40B4-BE49-F238E27FC236}">
                  <a16:creationId xmlns:a16="http://schemas.microsoft.com/office/drawing/2014/main" id="{295864E5-EE11-4D95-A807-146C45D4A923}"/>
                </a:ext>
              </a:extLst>
            </p:cNvPr>
            <p:cNvSpPr/>
            <p:nvPr/>
          </p:nvSpPr>
          <p:spPr>
            <a:xfrm>
              <a:off x="5056092" y="1655430"/>
              <a:ext cx="1776057" cy="426339"/>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800" b="1" kern="0" dirty="0">
                  <a:solidFill>
                    <a:prstClr val="black"/>
                  </a:solidFill>
                </a:rPr>
                <a:t>12/02/2029</a:t>
              </a:r>
              <a:endParaRPr kumimoji="0" lang="it-IT" sz="800" b="1" i="0" u="none" strike="noStrike" kern="0" cap="none" spc="0" normalizeH="0" baseline="0" noProof="0" dirty="0">
                <a:ln>
                  <a:noFill/>
                </a:ln>
                <a:solidFill>
                  <a:prstClr val="black"/>
                </a:solidFill>
                <a:effectLst/>
                <a:uLnTx/>
                <a:uFillTx/>
                <a:ea typeface="+mn-ea"/>
                <a:cs typeface="+mn-cs"/>
              </a:endParaRPr>
            </a:p>
          </p:txBody>
        </p:sp>
      </p:grpSp>
      <p:sp>
        <p:nvSpPr>
          <p:cNvPr id="183" name="Rounded Rectangle 67">
            <a:extLst>
              <a:ext uri="{FF2B5EF4-FFF2-40B4-BE49-F238E27FC236}">
                <a16:creationId xmlns:a16="http://schemas.microsoft.com/office/drawing/2014/main" id="{F755C099-0BAB-4663-B5F7-BE7E465D3D26}"/>
              </a:ext>
            </a:extLst>
          </p:cNvPr>
          <p:cNvSpPr/>
          <p:nvPr/>
        </p:nvSpPr>
        <p:spPr>
          <a:xfrm>
            <a:off x="7897480" y="5284915"/>
            <a:ext cx="1075945" cy="230077"/>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800" b="1" i="0" u="none" strike="noStrike" kern="0" cap="none" spc="0" normalizeH="0" baseline="0" noProof="0" dirty="0">
                <a:ln>
                  <a:noFill/>
                </a:ln>
                <a:solidFill>
                  <a:prstClr val="black"/>
                </a:solidFill>
                <a:effectLst/>
                <a:uLnTx/>
                <a:uFillTx/>
                <a:ea typeface="+mn-ea"/>
                <a:cs typeface="+mn-cs"/>
              </a:rPr>
              <a:t>Affidamento Ipotesi </a:t>
            </a:r>
            <a:r>
              <a:rPr lang="it-IT" sz="800" b="1" kern="0" dirty="0">
                <a:solidFill>
                  <a:prstClr val="black"/>
                </a:solidFill>
              </a:rPr>
              <a:t>2</a:t>
            </a:r>
            <a:endParaRPr kumimoji="0" lang="it-IT" sz="800" b="1" i="0" u="none" strike="noStrike" kern="0" cap="none" spc="0" normalizeH="0" baseline="0" noProof="0" dirty="0">
              <a:ln>
                <a:noFill/>
              </a:ln>
              <a:solidFill>
                <a:prstClr val="black"/>
              </a:solidFill>
              <a:effectLst/>
              <a:uLnTx/>
              <a:uFillTx/>
              <a:ea typeface="+mn-ea"/>
              <a:cs typeface="+mn-cs"/>
            </a:endParaRPr>
          </a:p>
        </p:txBody>
      </p:sp>
      <p:sp>
        <p:nvSpPr>
          <p:cNvPr id="185" name="Rounded Rectangle 67">
            <a:extLst>
              <a:ext uri="{FF2B5EF4-FFF2-40B4-BE49-F238E27FC236}">
                <a16:creationId xmlns:a16="http://schemas.microsoft.com/office/drawing/2014/main" id="{1E920FFD-3893-4153-A797-B8557272394F}"/>
              </a:ext>
            </a:extLst>
          </p:cNvPr>
          <p:cNvSpPr/>
          <p:nvPr/>
        </p:nvSpPr>
        <p:spPr>
          <a:xfrm>
            <a:off x="4452215" y="5085137"/>
            <a:ext cx="1075945" cy="230077"/>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800" b="1" i="0" u="none" strike="noStrike" kern="0" cap="none" spc="0" normalizeH="0" baseline="0" noProof="0" dirty="0">
                <a:ln>
                  <a:noFill/>
                </a:ln>
                <a:solidFill>
                  <a:prstClr val="black"/>
                </a:solidFill>
                <a:effectLst/>
                <a:uLnTx/>
                <a:uFillTx/>
                <a:ea typeface="+mn-ea"/>
                <a:cs typeface="+mn-cs"/>
              </a:rPr>
              <a:t>Approvazione MIMS</a:t>
            </a:r>
          </a:p>
        </p:txBody>
      </p:sp>
      <p:grpSp>
        <p:nvGrpSpPr>
          <p:cNvPr id="186" name="Gruppo 185">
            <a:extLst>
              <a:ext uri="{FF2B5EF4-FFF2-40B4-BE49-F238E27FC236}">
                <a16:creationId xmlns:a16="http://schemas.microsoft.com/office/drawing/2014/main" id="{E55E4AB0-E001-4117-9EE2-D7921F3EFD39}"/>
              </a:ext>
            </a:extLst>
          </p:cNvPr>
          <p:cNvGrpSpPr>
            <a:grpSpLocks noChangeAspect="1"/>
          </p:cNvGrpSpPr>
          <p:nvPr/>
        </p:nvGrpSpPr>
        <p:grpSpPr>
          <a:xfrm>
            <a:off x="8791416" y="4772258"/>
            <a:ext cx="648000" cy="475478"/>
            <a:chOff x="10575430" y="1043526"/>
            <a:chExt cx="868997" cy="637638"/>
          </a:xfrm>
        </p:grpSpPr>
        <p:sp>
          <p:nvSpPr>
            <p:cNvPr id="187" name="Rombo 186">
              <a:extLst>
                <a:ext uri="{FF2B5EF4-FFF2-40B4-BE49-F238E27FC236}">
                  <a16:creationId xmlns:a16="http://schemas.microsoft.com/office/drawing/2014/main" id="{3DEDACB4-7D42-4340-BE7B-A0F9248145C1}"/>
                </a:ext>
              </a:extLst>
            </p:cNvPr>
            <p:cNvSpPr/>
            <p:nvPr/>
          </p:nvSpPr>
          <p:spPr>
            <a:xfrm>
              <a:off x="10789302" y="1395414"/>
              <a:ext cx="285750" cy="285750"/>
            </a:xfrm>
            <a:prstGeom prst="diamond">
              <a:avLst/>
            </a:prstGeom>
            <a:solidFill>
              <a:srgbClr val="ED7D31"/>
            </a:solidFill>
            <a:ln w="25400" cap="rnd" cmpd="sng" algn="ctr">
              <a:no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a:ea typeface="+mn-ea"/>
                <a:cs typeface="+mn-cs"/>
              </a:endParaRPr>
            </a:p>
          </p:txBody>
        </p:sp>
        <p:sp>
          <p:nvSpPr>
            <p:cNvPr id="188" name="Rounded Rectangle 67">
              <a:extLst>
                <a:ext uri="{FF2B5EF4-FFF2-40B4-BE49-F238E27FC236}">
                  <a16:creationId xmlns:a16="http://schemas.microsoft.com/office/drawing/2014/main" id="{0B2E892F-37E3-4F79-8DAE-E2A2F6B9C041}"/>
                </a:ext>
              </a:extLst>
            </p:cNvPr>
            <p:cNvSpPr/>
            <p:nvPr/>
          </p:nvSpPr>
          <p:spPr>
            <a:xfrm>
              <a:off x="10575430" y="1043526"/>
              <a:ext cx="868997" cy="311981"/>
            </a:xfrm>
            <a:prstGeom prst="round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800" b="1" kern="0" dirty="0">
                  <a:solidFill>
                    <a:prstClr val="black"/>
                  </a:solidFill>
                </a:rPr>
                <a:t>13/04/28</a:t>
              </a:r>
              <a:endParaRPr kumimoji="0" lang="it-IT" sz="800" b="1" i="0" u="none" strike="noStrike" kern="0" cap="none" spc="0" normalizeH="0" baseline="0" noProof="0" dirty="0">
                <a:ln>
                  <a:noFill/>
                </a:ln>
                <a:solidFill>
                  <a:prstClr val="black"/>
                </a:solidFill>
                <a:effectLst/>
                <a:uLnTx/>
                <a:uFillTx/>
                <a:ea typeface="+mn-ea"/>
                <a:cs typeface="+mn-cs"/>
              </a:endParaRPr>
            </a:p>
          </p:txBody>
        </p:sp>
      </p:grpSp>
      <p:sp>
        <p:nvSpPr>
          <p:cNvPr id="189" name="Rounded Rectangle 67">
            <a:extLst>
              <a:ext uri="{FF2B5EF4-FFF2-40B4-BE49-F238E27FC236}">
                <a16:creationId xmlns:a16="http://schemas.microsoft.com/office/drawing/2014/main" id="{B20C744A-22BC-46EC-89C4-E9738DB91B0C}"/>
              </a:ext>
            </a:extLst>
          </p:cNvPr>
          <p:cNvSpPr/>
          <p:nvPr/>
        </p:nvSpPr>
        <p:spPr>
          <a:xfrm>
            <a:off x="8593841" y="5286836"/>
            <a:ext cx="994437" cy="230077"/>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800" b="1" kern="0" dirty="0">
                <a:solidFill>
                  <a:prstClr val="black"/>
                </a:solidFill>
              </a:rPr>
              <a:t>Fine lavori Ipotesi 1</a:t>
            </a:r>
            <a:endParaRPr kumimoji="0" lang="it-IT" sz="800" b="1" i="0" u="none" strike="noStrike" kern="0" cap="none" spc="0" normalizeH="0" baseline="0" noProof="0" dirty="0">
              <a:ln>
                <a:noFill/>
              </a:ln>
              <a:solidFill>
                <a:prstClr val="black"/>
              </a:solidFill>
              <a:effectLst/>
              <a:uLnTx/>
              <a:uFillTx/>
              <a:ea typeface="+mn-ea"/>
              <a:cs typeface="+mn-cs"/>
            </a:endParaRPr>
          </a:p>
        </p:txBody>
      </p:sp>
      <p:sp>
        <p:nvSpPr>
          <p:cNvPr id="190" name="Rounded Rectangle 67">
            <a:extLst>
              <a:ext uri="{FF2B5EF4-FFF2-40B4-BE49-F238E27FC236}">
                <a16:creationId xmlns:a16="http://schemas.microsoft.com/office/drawing/2014/main" id="{1B00B94A-4913-489D-81DD-C17223516AC5}"/>
              </a:ext>
            </a:extLst>
          </p:cNvPr>
          <p:cNvSpPr/>
          <p:nvPr/>
        </p:nvSpPr>
        <p:spPr>
          <a:xfrm>
            <a:off x="11082994" y="5250920"/>
            <a:ext cx="994437" cy="230077"/>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800" b="1" kern="0" dirty="0">
                <a:solidFill>
                  <a:prstClr val="black"/>
                </a:solidFill>
              </a:rPr>
              <a:t>Fine lavori Ipotesi 2</a:t>
            </a:r>
            <a:endParaRPr kumimoji="0" lang="it-IT" sz="800" b="1" i="0" u="none" strike="noStrike" kern="0" cap="none" spc="0" normalizeH="0" baseline="0" noProof="0" dirty="0">
              <a:ln>
                <a:noFill/>
              </a:ln>
              <a:solidFill>
                <a:prstClr val="black"/>
              </a:solidFill>
              <a:effectLst/>
              <a:uLnTx/>
              <a:uFillTx/>
              <a:ea typeface="+mn-ea"/>
              <a:cs typeface="+mn-cs"/>
            </a:endParaRPr>
          </a:p>
        </p:txBody>
      </p:sp>
      <p:sp>
        <p:nvSpPr>
          <p:cNvPr id="58" name="CasellaDiTesto 57">
            <a:extLst>
              <a:ext uri="{FF2B5EF4-FFF2-40B4-BE49-F238E27FC236}">
                <a16:creationId xmlns:a16="http://schemas.microsoft.com/office/drawing/2014/main" id="{1413EFB1-A334-4904-BBFD-7D1321505FF1}"/>
              </a:ext>
            </a:extLst>
          </p:cNvPr>
          <p:cNvSpPr txBox="1"/>
          <p:nvPr/>
        </p:nvSpPr>
        <p:spPr>
          <a:xfrm>
            <a:off x="5468603" y="2685221"/>
            <a:ext cx="635081" cy="206053"/>
          </a:xfrm>
          <a:prstGeom prst="rect">
            <a:avLst/>
          </a:prstGeom>
          <a:noFill/>
        </p:spPr>
        <p:txBody>
          <a:bodyPr wrap="square" rtlCol="0">
            <a:spAutoFit/>
          </a:bodyPr>
          <a:lstStyle/>
          <a:p>
            <a:r>
              <a:rPr lang="it-IT" sz="700" dirty="0">
                <a:solidFill>
                  <a:schemeClr val="accent3"/>
                </a:solidFill>
              </a:rPr>
              <a:t>2 MESI</a:t>
            </a:r>
          </a:p>
        </p:txBody>
      </p:sp>
      <p:sp>
        <p:nvSpPr>
          <p:cNvPr id="59" name="CasellaDiTesto 58">
            <a:extLst>
              <a:ext uri="{FF2B5EF4-FFF2-40B4-BE49-F238E27FC236}">
                <a16:creationId xmlns:a16="http://schemas.microsoft.com/office/drawing/2014/main" id="{4C6D465E-A853-4B2C-852C-5602BC9B8AF8}"/>
              </a:ext>
            </a:extLst>
          </p:cNvPr>
          <p:cNvSpPr txBox="1"/>
          <p:nvPr/>
        </p:nvSpPr>
        <p:spPr>
          <a:xfrm>
            <a:off x="6860869" y="3067057"/>
            <a:ext cx="635081" cy="206053"/>
          </a:xfrm>
          <a:prstGeom prst="rect">
            <a:avLst/>
          </a:prstGeom>
          <a:noFill/>
        </p:spPr>
        <p:txBody>
          <a:bodyPr wrap="square" rtlCol="0">
            <a:spAutoFit/>
          </a:bodyPr>
          <a:lstStyle/>
          <a:p>
            <a:r>
              <a:rPr lang="it-IT" sz="700" dirty="0">
                <a:solidFill>
                  <a:schemeClr val="accent3"/>
                </a:solidFill>
              </a:rPr>
              <a:t>60 MESI</a:t>
            </a:r>
          </a:p>
        </p:txBody>
      </p:sp>
      <p:sp>
        <p:nvSpPr>
          <p:cNvPr id="60" name="CasellaDiTesto 59">
            <a:extLst>
              <a:ext uri="{FF2B5EF4-FFF2-40B4-BE49-F238E27FC236}">
                <a16:creationId xmlns:a16="http://schemas.microsoft.com/office/drawing/2014/main" id="{F8D7725D-BA8E-4D8B-AEE5-803F075CB465}"/>
              </a:ext>
            </a:extLst>
          </p:cNvPr>
          <p:cNvSpPr txBox="1"/>
          <p:nvPr/>
        </p:nvSpPr>
        <p:spPr>
          <a:xfrm>
            <a:off x="6635387" y="3465924"/>
            <a:ext cx="635081" cy="206053"/>
          </a:xfrm>
          <a:prstGeom prst="rect">
            <a:avLst/>
          </a:prstGeom>
          <a:noFill/>
        </p:spPr>
        <p:txBody>
          <a:bodyPr wrap="square" rtlCol="0">
            <a:spAutoFit/>
          </a:bodyPr>
          <a:lstStyle/>
          <a:p>
            <a:r>
              <a:rPr lang="it-IT" sz="700" dirty="0">
                <a:solidFill>
                  <a:schemeClr val="accent3"/>
                </a:solidFill>
              </a:rPr>
              <a:t>12 MESI</a:t>
            </a:r>
          </a:p>
        </p:txBody>
      </p:sp>
      <p:sp>
        <p:nvSpPr>
          <p:cNvPr id="61" name="CasellaDiTesto 60">
            <a:extLst>
              <a:ext uri="{FF2B5EF4-FFF2-40B4-BE49-F238E27FC236}">
                <a16:creationId xmlns:a16="http://schemas.microsoft.com/office/drawing/2014/main" id="{2AA2DAC0-FE35-44BC-BD58-A6DBE70EF61B}"/>
              </a:ext>
            </a:extLst>
          </p:cNvPr>
          <p:cNvSpPr txBox="1"/>
          <p:nvPr/>
        </p:nvSpPr>
        <p:spPr>
          <a:xfrm>
            <a:off x="9720467" y="3863135"/>
            <a:ext cx="635081" cy="206053"/>
          </a:xfrm>
          <a:prstGeom prst="rect">
            <a:avLst/>
          </a:prstGeom>
          <a:noFill/>
        </p:spPr>
        <p:txBody>
          <a:bodyPr wrap="square" rtlCol="0">
            <a:spAutoFit/>
          </a:bodyPr>
          <a:lstStyle/>
          <a:p>
            <a:r>
              <a:rPr lang="it-IT" sz="700" dirty="0">
                <a:solidFill>
                  <a:schemeClr val="accent3"/>
                </a:solidFill>
              </a:rPr>
              <a:t>60 MESI</a:t>
            </a:r>
          </a:p>
        </p:txBody>
      </p:sp>
    </p:spTree>
    <p:extLst>
      <p:ext uri="{BB962C8B-B14F-4D97-AF65-F5344CB8AC3E}">
        <p14:creationId xmlns:p14="http://schemas.microsoft.com/office/powerpoint/2010/main" val="19764991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tangolo 6">
            <a:extLst>
              <a:ext uri="{FF2B5EF4-FFF2-40B4-BE49-F238E27FC236}">
                <a16:creationId xmlns:a16="http://schemas.microsoft.com/office/drawing/2014/main" id="{BBDE28F8-1917-4713-BF40-3BD14BC01B26}"/>
              </a:ext>
            </a:extLst>
          </p:cNvPr>
          <p:cNvSpPr/>
          <p:nvPr/>
        </p:nvSpPr>
        <p:spPr>
          <a:xfrm>
            <a:off x="9923780" y="3634013"/>
            <a:ext cx="726291" cy="177857"/>
          </a:xfrm>
          <a:prstGeom prst="rect">
            <a:avLst/>
          </a:prstGeom>
          <a:pattFill prst="wdUpDiag">
            <a:fgClr>
              <a:srgbClr val="F8F200"/>
            </a:fgClr>
            <a:bgClr>
              <a:srgbClr val="FFFFFF"/>
            </a:bgClr>
          </a:pattFill>
          <a:ln w="3175">
            <a:solidFill>
              <a:srgbClr val="F8F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8" name="Immagine 7">
            <a:extLst>
              <a:ext uri="{FF2B5EF4-FFF2-40B4-BE49-F238E27FC236}">
                <a16:creationId xmlns:a16="http://schemas.microsoft.com/office/drawing/2014/main" id="{E480B429-A5D0-4094-AB59-704948DAFA55}"/>
              </a:ext>
            </a:extLst>
          </p:cNvPr>
          <p:cNvPicPr>
            <a:picLocks noChangeAspect="1"/>
          </p:cNvPicPr>
          <p:nvPr/>
        </p:nvPicPr>
        <p:blipFill>
          <a:blip r:embed="rId3"/>
          <a:stretch>
            <a:fillRect/>
          </a:stretch>
        </p:blipFill>
        <p:spPr>
          <a:xfrm>
            <a:off x="812048" y="1713648"/>
            <a:ext cx="10582275" cy="2962275"/>
          </a:xfrm>
          <a:prstGeom prst="rect">
            <a:avLst/>
          </a:prstGeom>
        </p:spPr>
      </p:pic>
      <p:sp>
        <p:nvSpPr>
          <p:cNvPr id="14" name="Ovale 13">
            <a:extLst>
              <a:ext uri="{FF2B5EF4-FFF2-40B4-BE49-F238E27FC236}">
                <a16:creationId xmlns:a16="http://schemas.microsoft.com/office/drawing/2014/main" id="{B7F132FA-1CB9-4F69-9E9F-951465FD4237}"/>
              </a:ext>
            </a:extLst>
          </p:cNvPr>
          <p:cNvSpPr/>
          <p:nvPr/>
        </p:nvSpPr>
        <p:spPr>
          <a:xfrm>
            <a:off x="452931" y="1031322"/>
            <a:ext cx="540000" cy="540000"/>
          </a:xfrm>
          <a:prstGeom prst="ellipse">
            <a:avLst/>
          </a:prstGeom>
          <a:solidFill>
            <a:schemeClr val="accent2">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10" name="Elemento grafico 9" descr="Orologio contorno">
            <a:extLst>
              <a:ext uri="{FF2B5EF4-FFF2-40B4-BE49-F238E27FC236}">
                <a16:creationId xmlns:a16="http://schemas.microsoft.com/office/drawing/2014/main" id="{9274313E-61E2-4A51-8D84-BE9A44D53BBF}"/>
              </a:ext>
            </a:extLst>
          </p:cNvPr>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8261" y="1078578"/>
            <a:ext cx="457200" cy="457200"/>
          </a:xfrm>
          <a:prstGeom prst="rect">
            <a:avLst/>
          </a:prstGeom>
        </p:spPr>
      </p:pic>
      <p:sp>
        <p:nvSpPr>
          <p:cNvPr id="5" name="Segnaposto testo 8">
            <a:extLst>
              <a:ext uri="{FF2B5EF4-FFF2-40B4-BE49-F238E27FC236}">
                <a16:creationId xmlns:a16="http://schemas.microsoft.com/office/drawing/2014/main" id="{159E0B95-1159-47B6-93D4-DD9555426108}"/>
              </a:ext>
            </a:extLst>
          </p:cNvPr>
          <p:cNvSpPr txBox="1">
            <a:spLocks/>
          </p:cNvSpPr>
          <p:nvPr/>
        </p:nvSpPr>
        <p:spPr>
          <a:xfrm>
            <a:off x="1022381" y="1093910"/>
            <a:ext cx="10259029" cy="424056"/>
          </a:xfrm>
          <a:prstGeom prst="rect">
            <a:avLst/>
          </a:prstGeom>
        </p:spPr>
        <p:txBody>
          <a:bodyPr vert="horz" lIns="91440" tIns="45720" rIns="91440" bIns="45720" rtlCol="0" anchor="b">
            <a:noAutofit/>
          </a:bodyPr>
          <a:lstStyle>
            <a:lvl1pPr marL="0" indent="0" algn="l" defTabSz="742950" rtl="0" eaLnBrk="1" latinLnBrk="0" hangingPunct="1">
              <a:lnSpc>
                <a:spcPct val="90000"/>
              </a:lnSpc>
              <a:spcBef>
                <a:spcPts val="813"/>
              </a:spcBef>
              <a:buFont typeface="Arial" panose="020B0604020202020204" pitchFamily="34" charset="0"/>
              <a:buNone/>
              <a:defRPr sz="1950" b="1" kern="1200">
                <a:solidFill>
                  <a:schemeClr val="tx1"/>
                </a:solidFill>
                <a:latin typeface="+mn-lt"/>
                <a:ea typeface="+mn-ea"/>
                <a:cs typeface="+mn-cs"/>
              </a:defRPr>
            </a:lvl1pPr>
            <a:lvl2pPr marL="371475" indent="0" algn="l" defTabSz="742950" rtl="0" eaLnBrk="1" latinLnBrk="0" hangingPunct="1">
              <a:lnSpc>
                <a:spcPct val="90000"/>
              </a:lnSpc>
              <a:spcBef>
                <a:spcPts val="406"/>
              </a:spcBef>
              <a:buFont typeface="Arial" panose="020B0604020202020204" pitchFamily="34" charset="0"/>
              <a:buNone/>
              <a:defRPr sz="1625" b="1" kern="1200">
                <a:solidFill>
                  <a:schemeClr val="tx1"/>
                </a:solidFill>
                <a:latin typeface="+mn-lt"/>
                <a:ea typeface="+mn-ea"/>
                <a:cs typeface="+mn-cs"/>
              </a:defRPr>
            </a:lvl2pPr>
            <a:lvl3pPr marL="742950" indent="0" algn="l" defTabSz="742950" rtl="0" eaLnBrk="1" latinLnBrk="0" hangingPunct="1">
              <a:lnSpc>
                <a:spcPct val="90000"/>
              </a:lnSpc>
              <a:spcBef>
                <a:spcPts val="406"/>
              </a:spcBef>
              <a:buFont typeface="Arial" panose="020B0604020202020204" pitchFamily="34" charset="0"/>
              <a:buNone/>
              <a:defRPr sz="1463" b="1" kern="1200">
                <a:solidFill>
                  <a:schemeClr val="tx1"/>
                </a:solidFill>
                <a:latin typeface="+mn-lt"/>
                <a:ea typeface="+mn-ea"/>
                <a:cs typeface="+mn-cs"/>
              </a:defRPr>
            </a:lvl3pPr>
            <a:lvl4pPr marL="11144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4pPr>
            <a:lvl5pPr marL="14859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5pPr>
            <a:lvl6pPr marL="185737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6pPr>
            <a:lvl7pPr marL="222885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7pPr>
            <a:lvl8pPr marL="2600325"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8pPr>
            <a:lvl9pPr marL="2971800" indent="0" algn="l" defTabSz="742950" rtl="0" eaLnBrk="1" latinLnBrk="0" hangingPunct="1">
              <a:lnSpc>
                <a:spcPct val="90000"/>
              </a:lnSpc>
              <a:spcBef>
                <a:spcPts val="406"/>
              </a:spcBef>
              <a:buFont typeface="Arial" panose="020B0604020202020204" pitchFamily="34" charset="0"/>
              <a:buNone/>
              <a:defRPr sz="1300" b="1" kern="1200">
                <a:solidFill>
                  <a:schemeClr val="tx1"/>
                </a:solidFill>
                <a:latin typeface="+mn-lt"/>
                <a:ea typeface="+mn-ea"/>
                <a:cs typeface="+mn-cs"/>
              </a:defRPr>
            </a:lvl9pPr>
          </a:lstStyle>
          <a:p>
            <a:pPr fontAlgn="auto">
              <a:spcAft>
                <a:spcPts val="0"/>
              </a:spcAft>
            </a:pPr>
            <a:r>
              <a:rPr lang="it-IT" sz="2400" b="0" dirty="0">
                <a:latin typeface="+mj-lt"/>
              </a:rPr>
              <a:t>Confronto con cronoprogramma accordo 10/14/2021</a:t>
            </a:r>
            <a:endParaRPr lang="it-IT" sz="2400" b="0" dirty="0">
              <a:solidFill>
                <a:srgbClr val="FF0000"/>
              </a:solidFill>
              <a:latin typeface="+mj-lt"/>
            </a:endParaRPr>
          </a:p>
        </p:txBody>
      </p:sp>
      <p:sp>
        <p:nvSpPr>
          <p:cNvPr id="6" name="Segnaposto contenuto 2">
            <a:extLst>
              <a:ext uri="{FF2B5EF4-FFF2-40B4-BE49-F238E27FC236}">
                <a16:creationId xmlns:a16="http://schemas.microsoft.com/office/drawing/2014/main" id="{1B522F23-A424-4F12-8F10-3D071758CE37}"/>
              </a:ext>
            </a:extLst>
          </p:cNvPr>
          <p:cNvSpPr txBox="1">
            <a:spLocks/>
          </p:cNvSpPr>
          <p:nvPr/>
        </p:nvSpPr>
        <p:spPr>
          <a:xfrm>
            <a:off x="494027" y="1612586"/>
            <a:ext cx="10989426" cy="458852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it-IT" sz="1200" dirty="0">
              <a:solidFill>
                <a:srgbClr val="000000"/>
              </a:solidFill>
            </a:endParaRPr>
          </a:p>
        </p:txBody>
      </p:sp>
      <p:sp>
        <p:nvSpPr>
          <p:cNvPr id="20" name="Titolo 6">
            <a:extLst>
              <a:ext uri="{FF2B5EF4-FFF2-40B4-BE49-F238E27FC236}">
                <a16:creationId xmlns:a16="http://schemas.microsoft.com/office/drawing/2014/main" id="{F4B312A5-AB17-4CA0-905E-D7BAFAB4FFD6}"/>
              </a:ext>
            </a:extLst>
          </p:cNvPr>
          <p:cNvSpPr>
            <a:spLocks noGrp="1"/>
          </p:cNvSpPr>
          <p:nvPr>
            <p:ph type="title"/>
          </p:nvPr>
        </p:nvSpPr>
        <p:spPr>
          <a:xfrm>
            <a:off x="258416" y="361401"/>
            <a:ext cx="10515600" cy="418646"/>
          </a:xfrm>
        </p:spPr>
        <p:txBody>
          <a:bodyPr>
            <a:normAutofit fontScale="90000"/>
          </a:bodyPr>
          <a:lstStyle/>
          <a:p>
            <a:r>
              <a:rPr lang="it-IT" sz="3200" b="1" dirty="0"/>
              <a:t>02. Iter autorizzativo e Cronoprogramma attività</a:t>
            </a:r>
          </a:p>
        </p:txBody>
      </p:sp>
      <p:sp>
        <p:nvSpPr>
          <p:cNvPr id="21" name="Rettangolo 20">
            <a:extLst>
              <a:ext uri="{FF2B5EF4-FFF2-40B4-BE49-F238E27FC236}">
                <a16:creationId xmlns:a16="http://schemas.microsoft.com/office/drawing/2014/main" id="{DDEBEF42-FB5F-40AA-A6A7-5860EC8CB590}"/>
              </a:ext>
            </a:extLst>
          </p:cNvPr>
          <p:cNvSpPr/>
          <p:nvPr/>
        </p:nvSpPr>
        <p:spPr>
          <a:xfrm>
            <a:off x="258416" y="825526"/>
            <a:ext cx="11708296" cy="5575274"/>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CasellaDiTesto 15">
            <a:extLst>
              <a:ext uri="{FF2B5EF4-FFF2-40B4-BE49-F238E27FC236}">
                <a16:creationId xmlns:a16="http://schemas.microsoft.com/office/drawing/2014/main" id="{86F665CA-E789-4A4B-8CF9-3246371431A0}"/>
              </a:ext>
            </a:extLst>
          </p:cNvPr>
          <p:cNvSpPr txBox="1"/>
          <p:nvPr/>
        </p:nvSpPr>
        <p:spPr>
          <a:xfrm>
            <a:off x="668490" y="4832861"/>
            <a:ext cx="10869393" cy="1445332"/>
          </a:xfrm>
          <a:prstGeom prst="rect">
            <a:avLst/>
          </a:prstGeom>
          <a:noFill/>
        </p:spPr>
        <p:txBody>
          <a:bodyPr wrap="square" rtlCol="0">
            <a:spAutoFit/>
          </a:bodyPr>
          <a:lstStyle/>
          <a:p>
            <a:pPr algn="just">
              <a:lnSpc>
                <a:spcPct val="150000"/>
              </a:lnSpc>
            </a:pPr>
            <a:r>
              <a:rPr lang="it-IT" sz="1200" b="1" dirty="0">
                <a:solidFill>
                  <a:schemeClr val="accent6">
                    <a:lumMod val="10000"/>
                  </a:schemeClr>
                </a:solidFill>
              </a:rPr>
              <a:t>Nelle more della registrazione da parte della Corte dei Conti del terzo Atto aggiuntivo alla convenzione unica ASPI-MIMS </a:t>
            </a:r>
            <a:r>
              <a:rPr lang="it-IT" sz="1200" dirty="0">
                <a:solidFill>
                  <a:schemeClr val="accent6">
                    <a:lumMod val="10000"/>
                  </a:schemeClr>
                </a:solidFill>
              </a:rPr>
              <a:t>(avvenuta il 31/03/2022) con cui è stata sancita l’approvazione dell’accordo negoziale del 14/10/2021, </a:t>
            </a:r>
            <a:r>
              <a:rPr lang="it-IT" sz="1200" b="1" dirty="0">
                <a:solidFill>
                  <a:schemeClr val="accent6">
                    <a:lumMod val="10000"/>
                  </a:schemeClr>
                </a:solidFill>
              </a:rPr>
              <a:t>ASPI ha provveduto a:</a:t>
            </a:r>
          </a:p>
          <a:p>
            <a:pPr marL="628650" lvl="1" indent="-171450" algn="just">
              <a:lnSpc>
                <a:spcPct val="150000"/>
              </a:lnSpc>
              <a:buFont typeface="Arial" panose="020B0604020202020204" pitchFamily="34" charset="0"/>
              <a:buChar char="•"/>
            </a:pPr>
            <a:r>
              <a:rPr lang="it-IT" sz="1200" dirty="0">
                <a:solidFill>
                  <a:schemeClr val="accent6">
                    <a:lumMod val="10000"/>
                  </a:schemeClr>
                </a:solidFill>
              </a:rPr>
              <a:t>Aggiornare lo Studio di Impatto Ambientale e </a:t>
            </a:r>
            <a:r>
              <a:rPr lang="it-IT" sz="1200" b="1" dirty="0">
                <a:solidFill>
                  <a:schemeClr val="accent6">
                    <a:lumMod val="10000"/>
                  </a:schemeClr>
                </a:solidFill>
              </a:rPr>
              <a:t>a presentare al MITE l’istanza per l’avvio della procedura di VIA</a:t>
            </a:r>
            <a:r>
              <a:rPr lang="it-IT" sz="1200" dirty="0">
                <a:solidFill>
                  <a:schemeClr val="accent6">
                    <a:lumMod val="10000"/>
                  </a:schemeClr>
                </a:solidFill>
              </a:rPr>
              <a:t> (in data 31/03/2022).</a:t>
            </a:r>
          </a:p>
          <a:p>
            <a:pPr marL="628650" lvl="1" indent="-171450" algn="just">
              <a:lnSpc>
                <a:spcPct val="150000"/>
              </a:lnSpc>
              <a:buFont typeface="Arial" panose="020B0604020202020204" pitchFamily="34" charset="0"/>
              <a:buChar char="•"/>
            </a:pPr>
            <a:r>
              <a:rPr lang="it-IT" sz="1200" b="1" dirty="0">
                <a:solidFill>
                  <a:schemeClr val="accent6">
                    <a:lumMod val="10000"/>
                  </a:schemeClr>
                </a:solidFill>
              </a:rPr>
              <a:t>Anticipare l’avvio della progettazione esecutiva </a:t>
            </a:r>
            <a:r>
              <a:rPr lang="it-IT" sz="1200" dirty="0">
                <a:solidFill>
                  <a:schemeClr val="accent6">
                    <a:lumMod val="10000"/>
                  </a:schemeClr>
                </a:solidFill>
              </a:rPr>
              <a:t>in parallelo all’espletamento dell’iter autorizzativo (VIA+CDS).</a:t>
            </a:r>
          </a:p>
          <a:p>
            <a:pPr algn="just">
              <a:lnSpc>
                <a:spcPct val="150000"/>
              </a:lnSpc>
            </a:pPr>
            <a:r>
              <a:rPr lang="it-IT" sz="1200" dirty="0">
                <a:solidFill>
                  <a:schemeClr val="accent6">
                    <a:lumMod val="10000"/>
                  </a:schemeClr>
                </a:solidFill>
              </a:rPr>
              <a:t>Ciò ha reso possibile un </a:t>
            </a:r>
            <a:r>
              <a:rPr lang="it-IT" sz="1200" b="1" dirty="0">
                <a:solidFill>
                  <a:schemeClr val="accent6">
                    <a:lumMod val="10000"/>
                  </a:schemeClr>
                </a:solidFill>
              </a:rPr>
              <a:t>risparmio di tempo pari a circa 6 mesi.</a:t>
            </a:r>
          </a:p>
        </p:txBody>
      </p:sp>
    </p:spTree>
    <p:extLst>
      <p:ext uri="{BB962C8B-B14F-4D97-AF65-F5344CB8AC3E}">
        <p14:creationId xmlns:p14="http://schemas.microsoft.com/office/powerpoint/2010/main" val="22627120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i Office">
  <a:themeElements>
    <a:clrScheme name="Personalizzato 4">
      <a:dk1>
        <a:srgbClr val="0065A4"/>
      </a:dk1>
      <a:lt1>
        <a:sysClr val="window" lastClr="FFFFFF"/>
      </a:lt1>
      <a:dk2>
        <a:srgbClr val="7F7F7F"/>
      </a:dk2>
      <a:lt2>
        <a:srgbClr val="F2F2F2"/>
      </a:lt2>
      <a:accent1>
        <a:srgbClr val="0065A4"/>
      </a:accent1>
      <a:accent2>
        <a:srgbClr val="92D1FF"/>
      </a:accent2>
      <a:accent3>
        <a:srgbClr val="414141"/>
      </a:accent3>
      <a:accent4>
        <a:srgbClr val="7F7F7F"/>
      </a:accent4>
      <a:accent5>
        <a:srgbClr val="A5A5A5"/>
      </a:accent5>
      <a:accent6>
        <a:srgbClr val="D8D8D8"/>
      </a:accent6>
      <a:hlink>
        <a:srgbClr val="00B0F0"/>
      </a:hlink>
      <a:folHlink>
        <a:srgbClr val="7F7F7F"/>
      </a:folHlink>
    </a:clrScheme>
    <a:fontScheme name="Personalizzato 3">
      <a:majorFont>
        <a:latin typeface="Univers"/>
        <a:ea typeface="맑은 고딕"/>
        <a:cs typeface=""/>
      </a:majorFont>
      <a:minorFont>
        <a:latin typeface="Univers"/>
        <a:ea typeface="맑은 고딕"/>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897</TotalTime>
  <Words>2565</Words>
  <Application>Microsoft Office PowerPoint</Application>
  <PresentationFormat>Widescreen</PresentationFormat>
  <Paragraphs>450</Paragraphs>
  <Slides>27</Slides>
  <Notes>26</Notes>
  <HiddenSlides>0</HiddenSlides>
  <MMClips>0</MMClips>
  <ScaleCrop>false</ScaleCrop>
  <HeadingPairs>
    <vt:vector size="8" baseType="variant">
      <vt:variant>
        <vt:lpstr>Caratteri utilizzati</vt:lpstr>
      </vt:variant>
      <vt:variant>
        <vt:i4>4</vt:i4>
      </vt:variant>
      <vt:variant>
        <vt:lpstr>Tema</vt:lpstr>
      </vt:variant>
      <vt:variant>
        <vt:i4>1</vt:i4>
      </vt:variant>
      <vt:variant>
        <vt:lpstr>Server OLE incorporati</vt:lpstr>
      </vt:variant>
      <vt:variant>
        <vt:i4>1</vt:i4>
      </vt:variant>
      <vt:variant>
        <vt:lpstr>Titoli diapositive</vt:lpstr>
      </vt:variant>
      <vt:variant>
        <vt:i4>27</vt:i4>
      </vt:variant>
    </vt:vector>
  </HeadingPairs>
  <TitlesOfParts>
    <vt:vector size="33" baseType="lpstr">
      <vt:lpstr>Arial</vt:lpstr>
      <vt:lpstr>Calibri</vt:lpstr>
      <vt:lpstr>Univers</vt:lpstr>
      <vt:lpstr>Univers Condensed</vt:lpstr>
      <vt:lpstr>Tema di Office</vt:lpstr>
      <vt:lpstr>Diapositiva think-cell</vt:lpstr>
      <vt:lpstr>Presentazione standard di PowerPoint</vt:lpstr>
      <vt:lpstr>Presentazione standard di PowerPoint</vt:lpstr>
      <vt:lpstr>01. Genesi del progetto</vt:lpstr>
      <vt:lpstr>01. Genesi del progetto</vt:lpstr>
      <vt:lpstr>01. Genesi del progetto</vt:lpstr>
      <vt:lpstr>01. Genesi del progetto</vt:lpstr>
      <vt:lpstr>02. Iter autorizzativo e Cronoprogramma attività</vt:lpstr>
      <vt:lpstr>02. Iter autorizzativo e Cronoprogramma attività</vt:lpstr>
      <vt:lpstr>02. Iter autorizzativo e Cronoprogramma attività</vt:lpstr>
      <vt:lpstr>03. Overview intervento</vt:lpstr>
      <vt:lpstr>Presentazione standard di PowerPoint</vt:lpstr>
      <vt:lpstr>05. Descrizione dell’intervento</vt:lpstr>
      <vt:lpstr>05. Descrizione dell’intervento</vt:lpstr>
      <vt:lpstr>05. Descrizione dell’intervento</vt:lpstr>
      <vt:lpstr>05. Descrizione dell’intervento</vt:lpstr>
      <vt:lpstr>05. Descrizione dell’intervento</vt:lpstr>
      <vt:lpstr>05. Descrizione dell’intervento</vt:lpstr>
      <vt:lpstr>05. Descrizione dell’intervento</vt:lpstr>
      <vt:lpstr>05. Descrizione dell’intervento</vt:lpstr>
      <vt:lpstr>05. Descrizione dell’intervento</vt:lpstr>
      <vt:lpstr>05. Descrizione dell’intervento</vt:lpstr>
      <vt:lpstr>05. Descrizione dell’intervento</vt:lpstr>
      <vt:lpstr>05. Descrizione dell’intervento</vt:lpstr>
      <vt:lpstr>05. Descrizione dell’intervento</vt:lpstr>
      <vt:lpstr>05. Descrizione dell’intervento</vt:lpstr>
      <vt:lpstr>05. Descrizione dell’intervento</vt:lpstr>
      <vt:lpstr>06. Cronoprogramma lavori</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subject/>
  <dc:creator>Dittamo Enrico</dc:creator>
  <cp:keywords/>
  <dc:description/>
  <cp:lastModifiedBy>Tripoli, Laura</cp:lastModifiedBy>
  <cp:revision>239</cp:revision>
  <cp:lastPrinted>2022-04-13T10:22:31Z</cp:lastPrinted>
  <dcterms:created xsi:type="dcterms:W3CDTF">2021-03-02T16:19:27Z</dcterms:created>
  <dcterms:modified xsi:type="dcterms:W3CDTF">2022-04-13T15:20:49Z</dcterms:modified>
  <cp:category/>
</cp:coreProperties>
</file>